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8" r:id="rId4"/>
    <p:sldMasterId id="2147483648" r:id="rId5"/>
  </p:sldMasterIdLst>
  <p:notesMasterIdLst>
    <p:notesMasterId r:id="rId19"/>
  </p:notesMasterIdLst>
  <p:sldIdLst>
    <p:sldId id="257" r:id="rId6"/>
    <p:sldId id="2376" r:id="rId7"/>
    <p:sldId id="2375" r:id="rId8"/>
    <p:sldId id="2301" r:id="rId9"/>
    <p:sldId id="2380" r:id="rId10"/>
    <p:sldId id="2382" r:id="rId11"/>
    <p:sldId id="2383" r:id="rId12"/>
    <p:sldId id="2379" r:id="rId13"/>
    <p:sldId id="2378" r:id="rId14"/>
    <p:sldId id="2324" r:id="rId15"/>
    <p:sldId id="2385" r:id="rId16"/>
    <p:sldId id="2384" r:id="rId17"/>
    <p:sldId id="2366" r:id="rId18"/>
  </p:sldIdLst>
  <p:sldSz cx="12192000" cy="6858000"/>
  <p:notesSz cx="9926638" cy="6797675"/>
  <p:custDataLst>
    <p:tags r:id="rId20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2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ola Castillo Orellana" initials="PCO" lastIdx="2" clrIdx="0">
    <p:extLst>
      <p:ext uri="{19B8F6BF-5375-455C-9EA6-DF929625EA0E}">
        <p15:presenceInfo xmlns:p15="http://schemas.microsoft.com/office/powerpoint/2012/main" userId="S::pcastillo@aenor.com::fab22c5e-9802-4c31-8274-e486886a50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40554"/>
    <a:srgbClr val="699BD1"/>
    <a:srgbClr val="2359A2"/>
    <a:srgbClr val="D1DFE3"/>
    <a:srgbClr val="243678"/>
    <a:srgbClr val="EDF0F2"/>
    <a:srgbClr val="285484"/>
    <a:srgbClr val="3D7DC3"/>
    <a:srgbClr val="3C3C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E4641A2-DC78-478E-9536-8D42F9834DDD}" v="133" dt="2026-03-10T14:46:21.4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Estilo temático 1 - Énfasis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97" autoAdjust="0"/>
    <p:restoredTop sz="77966" autoAdjust="0"/>
  </p:normalViewPr>
  <p:slideViewPr>
    <p:cSldViewPr snapToGrid="0">
      <p:cViewPr varScale="1">
        <p:scale>
          <a:sx n="58" d="100"/>
          <a:sy n="58" d="100"/>
        </p:scale>
        <p:origin x="212" y="28"/>
      </p:cViewPr>
      <p:guideLst>
        <p:guide orient="horz" pos="4112"/>
        <p:guide pos="3817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" d="1"/>
        <a:sy n="1" d="1"/>
      </p:scale>
      <p:origin x="0" y="-1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ía Angélica Sanhueza Morales" userId="85279dce-b293-495c-b4c2-11bb9e5fe887" providerId="ADAL" clId="{579A27A9-9391-4AD8-A49D-29BE8F8DEB5F}"/>
    <pc:docChg chg="undo custSel addSld delSld modSld sldOrd">
      <pc:chgData name="María Angélica Sanhueza Morales" userId="85279dce-b293-495c-b4c2-11bb9e5fe887" providerId="ADAL" clId="{579A27A9-9391-4AD8-A49D-29BE8F8DEB5F}" dt="2026-03-10T14:46:21.413" v="1180"/>
      <pc:docMkLst>
        <pc:docMk/>
      </pc:docMkLst>
      <pc:sldChg chg="addSp delSp modSp del mod">
        <pc:chgData name="María Angélica Sanhueza Morales" userId="85279dce-b293-495c-b4c2-11bb9e5fe887" providerId="ADAL" clId="{579A27A9-9391-4AD8-A49D-29BE8F8DEB5F}" dt="2026-03-10T14:22:16.969" v="907" actId="47"/>
        <pc:sldMkLst>
          <pc:docMk/>
          <pc:sldMk cId="3777741750" sldId="256"/>
        </pc:sldMkLst>
        <pc:spChg chg="mod">
          <ac:chgData name="María Angélica Sanhueza Morales" userId="85279dce-b293-495c-b4c2-11bb9e5fe887" providerId="ADAL" clId="{579A27A9-9391-4AD8-A49D-29BE8F8DEB5F}" dt="2026-03-10T12:13:31.290" v="273" actId="20577"/>
          <ac:spMkLst>
            <pc:docMk/>
            <pc:sldMk cId="3777741750" sldId="256"/>
            <ac:spMk id="2" creationId="{26FD37BB-5298-4CBE-85B1-C7FD4B46B1EC}"/>
          </ac:spMkLst>
        </pc:spChg>
        <pc:spChg chg="mod">
          <ac:chgData name="María Angélica Sanhueza Morales" userId="85279dce-b293-495c-b4c2-11bb9e5fe887" providerId="ADAL" clId="{579A27A9-9391-4AD8-A49D-29BE8F8DEB5F}" dt="2026-03-10T12:13:28.327" v="266" actId="20577"/>
          <ac:spMkLst>
            <pc:docMk/>
            <pc:sldMk cId="3777741750" sldId="256"/>
            <ac:spMk id="20" creationId="{E3BB1ED4-30A9-7FBE-81AA-0AD8448146B7}"/>
          </ac:spMkLst>
        </pc:spChg>
        <pc:picChg chg="add mod">
          <ac:chgData name="María Angélica Sanhueza Morales" userId="85279dce-b293-495c-b4c2-11bb9e5fe887" providerId="ADAL" clId="{579A27A9-9391-4AD8-A49D-29BE8F8DEB5F}" dt="2026-03-10T12:13:48.584" v="276" actId="1076"/>
          <ac:picMkLst>
            <pc:docMk/>
            <pc:sldMk cId="3777741750" sldId="256"/>
            <ac:picMk id="3" creationId="{EE8BDE6A-4C0E-7312-1D71-BB9B06E853E7}"/>
          </ac:picMkLst>
        </pc:picChg>
        <pc:picChg chg="del">
          <ac:chgData name="María Angélica Sanhueza Morales" userId="85279dce-b293-495c-b4c2-11bb9e5fe887" providerId="ADAL" clId="{579A27A9-9391-4AD8-A49D-29BE8F8DEB5F}" dt="2026-03-10T12:13:34.049" v="274" actId="478"/>
          <ac:picMkLst>
            <pc:docMk/>
            <pc:sldMk cId="3777741750" sldId="256"/>
            <ac:picMk id="4" creationId="{B1B9A034-C23D-0482-5C4D-7252153837BC}"/>
          </ac:picMkLst>
        </pc:picChg>
        <pc:picChg chg="del">
          <ac:chgData name="María Angélica Sanhueza Morales" userId="85279dce-b293-495c-b4c2-11bb9e5fe887" providerId="ADAL" clId="{579A27A9-9391-4AD8-A49D-29BE8F8DEB5F}" dt="2026-03-10T12:13:52.332" v="277" actId="478"/>
          <ac:picMkLst>
            <pc:docMk/>
            <pc:sldMk cId="3777741750" sldId="256"/>
            <ac:picMk id="7" creationId="{0679E653-4745-AF92-2B52-C7DD61A616CC}"/>
          </ac:picMkLst>
        </pc:picChg>
      </pc:sldChg>
      <pc:sldChg chg="addSp delSp modSp mod ord">
        <pc:chgData name="María Angélica Sanhueza Morales" userId="85279dce-b293-495c-b4c2-11bb9e5fe887" providerId="ADAL" clId="{579A27A9-9391-4AD8-A49D-29BE8F8DEB5F}" dt="2026-03-10T12:12:45.083" v="249" actId="1076"/>
        <pc:sldMkLst>
          <pc:docMk/>
          <pc:sldMk cId="2089657429" sldId="257"/>
        </pc:sldMkLst>
        <pc:spChg chg="mod">
          <ac:chgData name="María Angélica Sanhueza Morales" userId="85279dce-b293-495c-b4c2-11bb9e5fe887" providerId="ADAL" clId="{579A27A9-9391-4AD8-A49D-29BE8F8DEB5F}" dt="2026-03-10T12:12:38.202" v="248" actId="14100"/>
          <ac:spMkLst>
            <pc:docMk/>
            <pc:sldMk cId="2089657429" sldId="257"/>
            <ac:spMk id="3" creationId="{1F6FA57C-3880-28E8-3253-BBE5A1EB0012}"/>
          </ac:spMkLst>
        </pc:spChg>
        <pc:spChg chg="add mod">
          <ac:chgData name="María Angélica Sanhueza Morales" userId="85279dce-b293-495c-b4c2-11bb9e5fe887" providerId="ADAL" clId="{579A27A9-9391-4AD8-A49D-29BE8F8DEB5F}" dt="2026-03-10T12:11:25.759" v="240"/>
          <ac:spMkLst>
            <pc:docMk/>
            <pc:sldMk cId="2089657429" sldId="257"/>
            <ac:spMk id="4" creationId="{8CE4C5A3-4D58-1584-BA46-DDC14F4E6CEB}"/>
          </ac:spMkLst>
        </pc:spChg>
        <pc:picChg chg="del">
          <ac:chgData name="María Angélica Sanhueza Morales" userId="85279dce-b293-495c-b4c2-11bb9e5fe887" providerId="ADAL" clId="{579A27A9-9391-4AD8-A49D-29BE8F8DEB5F}" dt="2026-03-10T12:11:14.059" v="238" actId="478"/>
          <ac:picMkLst>
            <pc:docMk/>
            <pc:sldMk cId="2089657429" sldId="257"/>
            <ac:picMk id="12" creationId="{A8477355-70A7-24E6-0EC6-F975C38F0D01}"/>
          </ac:picMkLst>
        </pc:picChg>
        <pc:picChg chg="mod">
          <ac:chgData name="María Angélica Sanhueza Morales" userId="85279dce-b293-495c-b4c2-11bb9e5fe887" providerId="ADAL" clId="{579A27A9-9391-4AD8-A49D-29BE8F8DEB5F}" dt="2026-03-10T12:12:45.083" v="249" actId="1076"/>
          <ac:picMkLst>
            <pc:docMk/>
            <pc:sldMk cId="2089657429" sldId="257"/>
            <ac:picMk id="14" creationId="{D1BFB7CF-2FAF-8AD8-8A5A-38BF3EA7E60A}"/>
          </ac:picMkLst>
        </pc:picChg>
      </pc:sldChg>
      <pc:sldChg chg="addSp delSp modSp mod ord modAnim">
        <pc:chgData name="María Angélica Sanhueza Morales" userId="85279dce-b293-495c-b4c2-11bb9e5fe887" providerId="ADAL" clId="{579A27A9-9391-4AD8-A49D-29BE8F8DEB5F}" dt="2026-03-10T14:43:15.148" v="1153"/>
        <pc:sldMkLst>
          <pc:docMk/>
          <pc:sldMk cId="2526752651" sldId="2301"/>
        </pc:sldMkLst>
        <pc:spChg chg="del mod">
          <ac:chgData name="María Angélica Sanhueza Morales" userId="85279dce-b293-495c-b4c2-11bb9e5fe887" providerId="ADAL" clId="{579A27A9-9391-4AD8-A49D-29BE8F8DEB5F}" dt="2026-03-10T12:06:20.215" v="51" actId="478"/>
          <ac:spMkLst>
            <pc:docMk/>
            <pc:sldMk cId="2526752651" sldId="2301"/>
            <ac:spMk id="2" creationId="{FA6D4218-6DCA-AC67-1725-AC7B7C5B244E}"/>
          </ac:spMkLst>
        </pc:spChg>
        <pc:spChg chg="add mod">
          <ac:chgData name="María Angélica Sanhueza Morales" userId="85279dce-b293-495c-b4c2-11bb9e5fe887" providerId="ADAL" clId="{579A27A9-9391-4AD8-A49D-29BE8F8DEB5F}" dt="2026-03-10T12:59:08.921" v="603" actId="20577"/>
          <ac:spMkLst>
            <pc:docMk/>
            <pc:sldMk cId="2526752651" sldId="2301"/>
            <ac:spMk id="9" creationId="{7B3C7880-4AA9-BEEA-C866-1A19699F6A34}"/>
          </ac:spMkLst>
        </pc:spChg>
        <pc:picChg chg="add del">
          <ac:chgData name="María Angélica Sanhueza Morales" userId="85279dce-b293-495c-b4c2-11bb9e5fe887" providerId="ADAL" clId="{579A27A9-9391-4AD8-A49D-29BE8F8DEB5F}" dt="2026-03-10T12:06:25.480" v="53" actId="478"/>
          <ac:picMkLst>
            <pc:docMk/>
            <pc:sldMk cId="2526752651" sldId="2301"/>
            <ac:picMk id="5" creationId="{2964DA15-7180-E135-75E4-66D1F0D7E001}"/>
          </ac:picMkLst>
        </pc:picChg>
        <pc:picChg chg="del">
          <ac:chgData name="María Angélica Sanhueza Morales" userId="85279dce-b293-495c-b4c2-11bb9e5fe887" providerId="ADAL" clId="{579A27A9-9391-4AD8-A49D-29BE8F8DEB5F}" dt="2026-03-10T12:06:27.829" v="54" actId="478"/>
          <ac:picMkLst>
            <pc:docMk/>
            <pc:sldMk cId="2526752651" sldId="2301"/>
            <ac:picMk id="7" creationId="{81187CF7-911E-D16F-39CC-0D46446CCEDA}"/>
          </ac:picMkLst>
        </pc:picChg>
        <pc:picChg chg="add mod">
          <ac:chgData name="María Angélica Sanhueza Morales" userId="85279dce-b293-495c-b4c2-11bb9e5fe887" providerId="ADAL" clId="{579A27A9-9391-4AD8-A49D-29BE8F8DEB5F}" dt="2026-03-10T12:58:28.739" v="541" actId="1076"/>
          <ac:picMkLst>
            <pc:docMk/>
            <pc:sldMk cId="2526752651" sldId="2301"/>
            <ac:picMk id="8" creationId="{32AE5413-5C0E-0CA9-670A-C008BA5D8D48}"/>
          </ac:picMkLst>
        </pc:picChg>
      </pc:sldChg>
      <pc:sldChg chg="delSp modSp del mod">
        <pc:chgData name="María Angélica Sanhueza Morales" userId="85279dce-b293-495c-b4c2-11bb9e5fe887" providerId="ADAL" clId="{579A27A9-9391-4AD8-A49D-29BE8F8DEB5F}" dt="2026-03-10T12:12:07.929" v="246" actId="47"/>
        <pc:sldMkLst>
          <pc:docMk/>
          <pc:sldMk cId="1109202626" sldId="2314"/>
        </pc:sldMkLst>
        <pc:spChg chg="del mod">
          <ac:chgData name="María Angélica Sanhueza Morales" userId="85279dce-b293-495c-b4c2-11bb9e5fe887" providerId="ADAL" clId="{579A27A9-9391-4AD8-A49D-29BE8F8DEB5F}" dt="2026-03-10T11:54:25.340" v="4" actId="478"/>
          <ac:spMkLst>
            <pc:docMk/>
            <pc:sldMk cId="1109202626" sldId="2314"/>
            <ac:spMk id="2" creationId="{16AA4BC3-26DC-EB30-E01F-DB33AE32C856}"/>
          </ac:spMkLst>
        </pc:spChg>
        <pc:spChg chg="del mod">
          <ac:chgData name="María Angélica Sanhueza Morales" userId="85279dce-b293-495c-b4c2-11bb9e5fe887" providerId="ADAL" clId="{579A27A9-9391-4AD8-A49D-29BE8F8DEB5F}" dt="2026-03-10T11:54:25.347" v="6"/>
          <ac:spMkLst>
            <pc:docMk/>
            <pc:sldMk cId="1109202626" sldId="2314"/>
            <ac:spMk id="3" creationId="{E5E8FD6A-020C-E47E-75C2-8EFA1F255EDF}"/>
          </ac:spMkLst>
        </pc:spChg>
        <pc:spChg chg="mod">
          <ac:chgData name="María Angélica Sanhueza Morales" userId="85279dce-b293-495c-b4c2-11bb9e5fe887" providerId="ADAL" clId="{579A27A9-9391-4AD8-A49D-29BE8F8DEB5F}" dt="2026-03-10T11:55:16.181" v="16"/>
          <ac:spMkLst>
            <pc:docMk/>
            <pc:sldMk cId="1109202626" sldId="2314"/>
            <ac:spMk id="4" creationId="{0CE4CA5D-77C8-4D92-90C9-674DE788FA9F}"/>
          </ac:spMkLst>
        </pc:spChg>
      </pc:sldChg>
      <pc:sldChg chg="del">
        <pc:chgData name="María Angélica Sanhueza Morales" userId="85279dce-b293-495c-b4c2-11bb9e5fe887" providerId="ADAL" clId="{579A27A9-9391-4AD8-A49D-29BE8F8DEB5F}" dt="2026-03-10T12:06:31.226" v="55" actId="47"/>
        <pc:sldMkLst>
          <pc:docMk/>
          <pc:sldMk cId="329428458" sldId="2323"/>
        </pc:sldMkLst>
      </pc:sldChg>
      <pc:sldChg chg="addSp delSp modSp mod modAnim">
        <pc:chgData name="María Angélica Sanhueza Morales" userId="85279dce-b293-495c-b4c2-11bb9e5fe887" providerId="ADAL" clId="{579A27A9-9391-4AD8-A49D-29BE8F8DEB5F}" dt="2026-03-10T14:46:08.794" v="1179"/>
        <pc:sldMkLst>
          <pc:docMk/>
          <pc:sldMk cId="302630846" sldId="2324"/>
        </pc:sldMkLst>
        <pc:spChg chg="mod">
          <ac:chgData name="María Angélica Sanhueza Morales" userId="85279dce-b293-495c-b4c2-11bb9e5fe887" providerId="ADAL" clId="{579A27A9-9391-4AD8-A49D-29BE8F8DEB5F}" dt="2026-03-10T12:13:07.228" v="251" actId="6549"/>
          <ac:spMkLst>
            <pc:docMk/>
            <pc:sldMk cId="302630846" sldId="2324"/>
            <ac:spMk id="868" creationId="{EF3FA71A-A58D-4243-9A09-F94896E6203E}"/>
          </ac:spMkLst>
        </pc:spChg>
        <pc:grpChg chg="del">
          <ac:chgData name="María Angélica Sanhueza Morales" userId="85279dce-b293-495c-b4c2-11bb9e5fe887" providerId="ADAL" clId="{579A27A9-9391-4AD8-A49D-29BE8F8DEB5F}" dt="2026-03-10T14:16:29.074" v="885" actId="478"/>
          <ac:grpSpMkLst>
            <pc:docMk/>
            <pc:sldMk cId="302630846" sldId="2324"/>
            <ac:grpSpMk id="15" creationId="{F1382127-C229-0258-FB76-4E5BF4757BEF}"/>
          </ac:grpSpMkLst>
        </pc:grpChg>
        <pc:picChg chg="del">
          <ac:chgData name="María Angélica Sanhueza Morales" userId="85279dce-b293-495c-b4c2-11bb9e5fe887" providerId="ADAL" clId="{579A27A9-9391-4AD8-A49D-29BE8F8DEB5F}" dt="2026-03-10T12:12:58.245" v="250" actId="478"/>
          <ac:picMkLst>
            <pc:docMk/>
            <pc:sldMk cId="302630846" sldId="2324"/>
            <ac:picMk id="3" creationId="{B9CE4C67-A173-F335-E8DF-BDEFA8DCD364}"/>
          </ac:picMkLst>
        </pc:picChg>
        <pc:picChg chg="add mod">
          <ac:chgData name="María Angélica Sanhueza Morales" userId="85279dce-b293-495c-b4c2-11bb9e5fe887" providerId="ADAL" clId="{579A27A9-9391-4AD8-A49D-29BE8F8DEB5F}" dt="2026-03-10T14:17:12.978" v="889" actId="1076"/>
          <ac:picMkLst>
            <pc:docMk/>
            <pc:sldMk cId="302630846" sldId="2324"/>
            <ac:picMk id="18" creationId="{75DC90B5-C553-392F-9509-711619FBFC6C}"/>
          </ac:picMkLst>
        </pc:picChg>
      </pc:sldChg>
      <pc:sldChg chg="del">
        <pc:chgData name="María Angélica Sanhueza Morales" userId="85279dce-b293-495c-b4c2-11bb9e5fe887" providerId="ADAL" clId="{579A27A9-9391-4AD8-A49D-29BE8F8DEB5F}" dt="2026-03-10T12:10:45.568" v="235" actId="47"/>
        <pc:sldMkLst>
          <pc:docMk/>
          <pc:sldMk cId="3239965341" sldId="2361"/>
        </pc:sldMkLst>
      </pc:sldChg>
      <pc:sldChg chg="delSp modSp del mod">
        <pc:chgData name="María Angélica Sanhueza Morales" userId="85279dce-b293-495c-b4c2-11bb9e5fe887" providerId="ADAL" clId="{579A27A9-9391-4AD8-A49D-29BE8F8DEB5F}" dt="2026-03-10T14:31:02.153" v="1069" actId="47"/>
        <pc:sldMkLst>
          <pc:docMk/>
          <pc:sldMk cId="3602137728" sldId="2365"/>
        </pc:sldMkLst>
        <pc:spChg chg="mod">
          <ac:chgData name="María Angélica Sanhueza Morales" userId="85279dce-b293-495c-b4c2-11bb9e5fe887" providerId="ADAL" clId="{579A27A9-9391-4AD8-A49D-29BE8F8DEB5F}" dt="2026-03-10T12:09:49.374" v="232" actId="6549"/>
          <ac:spMkLst>
            <pc:docMk/>
            <pc:sldMk cId="3602137728" sldId="2365"/>
            <ac:spMk id="7" creationId="{42DC9E57-E570-97C5-1602-EB26C2AFA252}"/>
          </ac:spMkLst>
        </pc:spChg>
        <pc:spChg chg="del">
          <ac:chgData name="María Angélica Sanhueza Morales" userId="85279dce-b293-495c-b4c2-11bb9e5fe887" providerId="ADAL" clId="{579A27A9-9391-4AD8-A49D-29BE8F8DEB5F}" dt="2026-03-10T12:10:30.369" v="233" actId="478"/>
          <ac:spMkLst>
            <pc:docMk/>
            <pc:sldMk cId="3602137728" sldId="2365"/>
            <ac:spMk id="28" creationId="{3555DC86-7B9D-86A0-B413-81B656188A32}"/>
          </ac:spMkLst>
        </pc:spChg>
        <pc:spChg chg="del">
          <ac:chgData name="María Angélica Sanhueza Morales" userId="85279dce-b293-495c-b4c2-11bb9e5fe887" providerId="ADAL" clId="{579A27A9-9391-4AD8-A49D-29BE8F8DEB5F}" dt="2026-03-10T12:10:41.348" v="234" actId="478"/>
          <ac:spMkLst>
            <pc:docMk/>
            <pc:sldMk cId="3602137728" sldId="2365"/>
            <ac:spMk id="36" creationId="{04EBE9CF-7E8A-9EC7-7FA3-FAA29403B27F}"/>
          </ac:spMkLst>
        </pc:spChg>
      </pc:sldChg>
      <pc:sldChg chg="addSp delSp modSp mod">
        <pc:chgData name="María Angélica Sanhueza Morales" userId="85279dce-b293-495c-b4c2-11bb9e5fe887" providerId="ADAL" clId="{579A27A9-9391-4AD8-A49D-29BE8F8DEB5F}" dt="2026-03-10T12:15:00.449" v="279" actId="22"/>
        <pc:sldMkLst>
          <pc:docMk/>
          <pc:sldMk cId="3847267400" sldId="2366"/>
        </pc:sldMkLst>
        <pc:spChg chg="add del">
          <ac:chgData name="María Angélica Sanhueza Morales" userId="85279dce-b293-495c-b4c2-11bb9e5fe887" providerId="ADAL" clId="{579A27A9-9391-4AD8-A49D-29BE8F8DEB5F}" dt="2026-03-10T12:15:00.449" v="279" actId="22"/>
          <ac:spMkLst>
            <pc:docMk/>
            <pc:sldMk cId="3847267400" sldId="2366"/>
            <ac:spMk id="5" creationId="{8D35D851-71EE-4C27-3F25-EAAF442CF717}"/>
          </ac:spMkLst>
        </pc:spChg>
        <pc:spChg chg="add del mod">
          <ac:chgData name="María Angélica Sanhueza Morales" userId="85279dce-b293-495c-b4c2-11bb9e5fe887" providerId="ADAL" clId="{579A27A9-9391-4AD8-A49D-29BE8F8DEB5F}" dt="2026-03-10T12:08:19.495" v="134" actId="20577"/>
          <ac:spMkLst>
            <pc:docMk/>
            <pc:sldMk cId="3847267400" sldId="2366"/>
            <ac:spMk id="14" creationId="{BBDD93B8-5BCF-D7D1-A4E5-6A5EB879E71D}"/>
          </ac:spMkLst>
        </pc:spChg>
      </pc:sldChg>
      <pc:sldChg chg="delSp modSp del mod">
        <pc:chgData name="María Angélica Sanhueza Morales" userId="85279dce-b293-495c-b4c2-11bb9e5fe887" providerId="ADAL" clId="{579A27A9-9391-4AD8-A49D-29BE8F8DEB5F}" dt="2026-03-10T14:41:18.173" v="1147" actId="47"/>
        <pc:sldMkLst>
          <pc:docMk/>
          <pc:sldMk cId="1319878216" sldId="2367"/>
        </pc:sldMkLst>
        <pc:spChg chg="del mod">
          <ac:chgData name="María Angélica Sanhueza Morales" userId="85279dce-b293-495c-b4c2-11bb9e5fe887" providerId="ADAL" clId="{579A27A9-9391-4AD8-A49D-29BE8F8DEB5F}" dt="2026-03-10T14:30:56.760" v="1068" actId="478"/>
          <ac:spMkLst>
            <pc:docMk/>
            <pc:sldMk cId="1319878216" sldId="2367"/>
            <ac:spMk id="60" creationId="{278F4FDA-11E1-B170-8FBD-3D0A3A1202D2}"/>
          </ac:spMkLst>
        </pc:spChg>
      </pc:sldChg>
      <pc:sldChg chg="del">
        <pc:chgData name="María Angélica Sanhueza Morales" userId="85279dce-b293-495c-b4c2-11bb9e5fe887" providerId="ADAL" clId="{579A27A9-9391-4AD8-A49D-29BE8F8DEB5F}" dt="2026-03-10T12:07:16.470" v="56" actId="47"/>
        <pc:sldMkLst>
          <pc:docMk/>
          <pc:sldMk cId="592761388" sldId="2368"/>
        </pc:sldMkLst>
      </pc:sldChg>
      <pc:sldChg chg="delSp modSp del mod">
        <pc:chgData name="María Angélica Sanhueza Morales" userId="85279dce-b293-495c-b4c2-11bb9e5fe887" providerId="ADAL" clId="{579A27A9-9391-4AD8-A49D-29BE8F8DEB5F}" dt="2026-03-10T12:06:10.569" v="49" actId="47"/>
        <pc:sldMkLst>
          <pc:docMk/>
          <pc:sldMk cId="2682884250" sldId="2373"/>
        </pc:sldMkLst>
        <pc:spChg chg="del">
          <ac:chgData name="María Angélica Sanhueza Morales" userId="85279dce-b293-495c-b4c2-11bb9e5fe887" providerId="ADAL" clId="{579A27A9-9391-4AD8-A49D-29BE8F8DEB5F}" dt="2026-03-10T12:05:54.513" v="45" actId="478"/>
          <ac:spMkLst>
            <pc:docMk/>
            <pc:sldMk cId="2682884250" sldId="2373"/>
            <ac:spMk id="2" creationId="{783C711D-481B-72E3-193A-3FF80491B25F}"/>
          </ac:spMkLst>
        </pc:spChg>
        <pc:spChg chg="del">
          <ac:chgData name="María Angélica Sanhueza Morales" userId="85279dce-b293-495c-b4c2-11bb9e5fe887" providerId="ADAL" clId="{579A27A9-9391-4AD8-A49D-29BE8F8DEB5F}" dt="2026-03-10T12:05:56.188" v="46" actId="478"/>
          <ac:spMkLst>
            <pc:docMk/>
            <pc:sldMk cId="2682884250" sldId="2373"/>
            <ac:spMk id="868" creationId="{E665C704-3658-30A2-4350-8AA8CBB48A92}"/>
          </ac:spMkLst>
        </pc:spChg>
        <pc:grpChg chg="del">
          <ac:chgData name="María Angélica Sanhueza Morales" userId="85279dce-b293-495c-b4c2-11bb9e5fe887" providerId="ADAL" clId="{579A27A9-9391-4AD8-A49D-29BE8F8DEB5F}" dt="2026-03-10T12:05:49.479" v="42" actId="478"/>
          <ac:grpSpMkLst>
            <pc:docMk/>
            <pc:sldMk cId="2682884250" sldId="2373"/>
            <ac:grpSpMk id="44" creationId="{841BC15B-B885-4995-5358-C4DE58C0FD90}"/>
          </ac:grpSpMkLst>
        </pc:grpChg>
        <pc:picChg chg="del">
          <ac:chgData name="María Angélica Sanhueza Morales" userId="85279dce-b293-495c-b4c2-11bb9e5fe887" providerId="ADAL" clId="{579A27A9-9391-4AD8-A49D-29BE8F8DEB5F}" dt="2026-03-10T12:05:50.974" v="43" actId="478"/>
          <ac:picMkLst>
            <pc:docMk/>
            <pc:sldMk cId="2682884250" sldId="2373"/>
            <ac:picMk id="7" creationId="{432F6CC3-4CED-1D26-40F3-E7C2A9837D3A}"/>
          </ac:picMkLst>
        </pc:picChg>
        <pc:picChg chg="del">
          <ac:chgData name="María Angélica Sanhueza Morales" userId="85279dce-b293-495c-b4c2-11bb9e5fe887" providerId="ADAL" clId="{579A27A9-9391-4AD8-A49D-29BE8F8DEB5F}" dt="2026-03-10T12:05:52.578" v="44" actId="478"/>
          <ac:picMkLst>
            <pc:docMk/>
            <pc:sldMk cId="2682884250" sldId="2373"/>
            <ac:picMk id="9" creationId="{ADABEA98-3AB3-87A4-8D1A-4A6017B441FF}"/>
          </ac:picMkLst>
        </pc:picChg>
        <pc:picChg chg="del">
          <ac:chgData name="María Angélica Sanhueza Morales" userId="85279dce-b293-495c-b4c2-11bb9e5fe887" providerId="ADAL" clId="{579A27A9-9391-4AD8-A49D-29BE8F8DEB5F}" dt="2026-03-10T12:05:48.715" v="41" actId="478"/>
          <ac:picMkLst>
            <pc:docMk/>
            <pc:sldMk cId="2682884250" sldId="2373"/>
            <ac:picMk id="10" creationId="{6244F708-57A3-05FA-544B-E49EA3CCF50A}"/>
          </ac:picMkLst>
        </pc:picChg>
        <pc:cxnChg chg="mod">
          <ac:chgData name="María Angélica Sanhueza Morales" userId="85279dce-b293-495c-b4c2-11bb9e5fe887" providerId="ADAL" clId="{579A27A9-9391-4AD8-A49D-29BE8F8DEB5F}" dt="2026-03-10T12:05:49.479" v="42" actId="478"/>
          <ac:cxnSpMkLst>
            <pc:docMk/>
            <pc:sldMk cId="2682884250" sldId="2373"/>
            <ac:cxnSpMk id="33" creationId="{B4C55BFD-DCE3-6B61-0914-60EA8ACD6B31}"/>
          </ac:cxnSpMkLst>
        </pc:cxnChg>
      </pc:sldChg>
      <pc:sldChg chg="addSp delSp modSp mod delAnim modAnim">
        <pc:chgData name="María Angélica Sanhueza Morales" userId="85279dce-b293-495c-b4c2-11bb9e5fe887" providerId="ADAL" clId="{579A27A9-9391-4AD8-A49D-29BE8F8DEB5F}" dt="2026-03-10T14:42:52.938" v="1151"/>
        <pc:sldMkLst>
          <pc:docMk/>
          <pc:sldMk cId="2705814186" sldId="2375"/>
        </pc:sldMkLst>
        <pc:spChg chg="add mod">
          <ac:chgData name="María Angélica Sanhueza Morales" userId="85279dce-b293-495c-b4c2-11bb9e5fe887" providerId="ADAL" clId="{579A27A9-9391-4AD8-A49D-29BE8F8DEB5F}" dt="2026-03-10T12:34:39.043" v="292" actId="1076"/>
          <ac:spMkLst>
            <pc:docMk/>
            <pc:sldMk cId="2705814186" sldId="2375"/>
            <ac:spMk id="2" creationId="{11ADC76A-C9AB-845E-0AAB-697E9827CF70}"/>
          </ac:spMkLst>
        </pc:spChg>
        <pc:spChg chg="add del mod">
          <ac:chgData name="María Angélica Sanhueza Morales" userId="85279dce-b293-495c-b4c2-11bb9e5fe887" providerId="ADAL" clId="{579A27A9-9391-4AD8-A49D-29BE8F8DEB5F}" dt="2026-03-10T12:39:02.838" v="321" actId="478"/>
          <ac:spMkLst>
            <pc:docMk/>
            <pc:sldMk cId="2705814186" sldId="2375"/>
            <ac:spMk id="7" creationId="{91EB4705-CB7B-5D32-4586-C8A3422D901A}"/>
          </ac:spMkLst>
        </pc:spChg>
        <pc:spChg chg="add mod">
          <ac:chgData name="María Angélica Sanhueza Morales" userId="85279dce-b293-495c-b4c2-11bb9e5fe887" providerId="ADAL" clId="{579A27A9-9391-4AD8-A49D-29BE8F8DEB5F}" dt="2026-03-10T12:38:33.829" v="313" actId="1076"/>
          <ac:spMkLst>
            <pc:docMk/>
            <pc:sldMk cId="2705814186" sldId="2375"/>
            <ac:spMk id="9" creationId="{252CDDA3-40FD-27C4-48C9-72C6F4F12031}"/>
          </ac:spMkLst>
        </pc:spChg>
        <pc:spChg chg="del">
          <ac:chgData name="María Angélica Sanhueza Morales" userId="85279dce-b293-495c-b4c2-11bb9e5fe887" providerId="ADAL" clId="{579A27A9-9391-4AD8-A49D-29BE8F8DEB5F}" dt="2026-03-10T12:05:15.087" v="28" actId="478"/>
          <ac:spMkLst>
            <pc:docMk/>
            <pc:sldMk cId="2705814186" sldId="2375"/>
            <ac:spMk id="11" creationId="{E1B067FA-C1D1-7029-73DE-228607123BD5}"/>
          </ac:spMkLst>
        </pc:spChg>
        <pc:spChg chg="del">
          <ac:chgData name="María Angélica Sanhueza Morales" userId="85279dce-b293-495c-b4c2-11bb9e5fe887" providerId="ADAL" clId="{579A27A9-9391-4AD8-A49D-29BE8F8DEB5F}" dt="2026-03-10T12:05:08.221" v="24" actId="478"/>
          <ac:spMkLst>
            <pc:docMk/>
            <pc:sldMk cId="2705814186" sldId="2375"/>
            <ac:spMk id="13" creationId="{34AFBE87-5F39-E3D2-56A8-4B8C23B6736E}"/>
          </ac:spMkLst>
        </pc:spChg>
        <pc:spChg chg="del">
          <ac:chgData name="María Angélica Sanhueza Morales" userId="85279dce-b293-495c-b4c2-11bb9e5fe887" providerId="ADAL" clId="{579A27A9-9391-4AD8-A49D-29BE8F8DEB5F}" dt="2026-03-10T12:05:16.456" v="29" actId="478"/>
          <ac:spMkLst>
            <pc:docMk/>
            <pc:sldMk cId="2705814186" sldId="2375"/>
            <ac:spMk id="19" creationId="{B57B583F-3A88-C428-E992-3B69D0CB8CEB}"/>
          </ac:spMkLst>
        </pc:spChg>
        <pc:spChg chg="add mod">
          <ac:chgData name="María Angélica Sanhueza Morales" userId="85279dce-b293-495c-b4c2-11bb9e5fe887" providerId="ADAL" clId="{579A27A9-9391-4AD8-A49D-29BE8F8DEB5F}" dt="2026-03-10T12:39:25.537" v="325" actId="6549"/>
          <ac:spMkLst>
            <pc:docMk/>
            <pc:sldMk cId="2705814186" sldId="2375"/>
            <ac:spMk id="21" creationId="{BFAD229A-1972-CDED-6489-4C04C0269186}"/>
          </ac:spMkLst>
        </pc:spChg>
        <pc:spChg chg="add mod">
          <ac:chgData name="María Angélica Sanhueza Morales" userId="85279dce-b293-495c-b4c2-11bb9e5fe887" providerId="ADAL" clId="{579A27A9-9391-4AD8-A49D-29BE8F8DEB5F}" dt="2026-03-10T12:39:22.309" v="323" actId="6549"/>
          <ac:spMkLst>
            <pc:docMk/>
            <pc:sldMk cId="2705814186" sldId="2375"/>
            <ac:spMk id="23" creationId="{C6229380-7886-8848-0BB7-D0A7D25A0270}"/>
          </ac:spMkLst>
        </pc:spChg>
        <pc:spChg chg="del mod">
          <ac:chgData name="María Angélica Sanhueza Morales" userId="85279dce-b293-495c-b4c2-11bb9e5fe887" providerId="ADAL" clId="{579A27A9-9391-4AD8-A49D-29BE8F8DEB5F}" dt="2026-03-10T12:05:12.308" v="27" actId="478"/>
          <ac:spMkLst>
            <pc:docMk/>
            <pc:sldMk cId="2705814186" sldId="2375"/>
            <ac:spMk id="24" creationId="{F33D8EF3-2542-859B-FB0F-14B94E224043}"/>
          </ac:spMkLst>
        </pc:spChg>
        <pc:spChg chg="del">
          <ac:chgData name="María Angélica Sanhueza Morales" userId="85279dce-b293-495c-b4c2-11bb9e5fe887" providerId="ADAL" clId="{579A27A9-9391-4AD8-A49D-29BE8F8DEB5F}" dt="2026-03-10T12:05:05.611" v="22" actId="478"/>
          <ac:spMkLst>
            <pc:docMk/>
            <pc:sldMk cId="2705814186" sldId="2375"/>
            <ac:spMk id="25" creationId="{1867D10C-FAE2-A5C8-5A84-5D2D0AE2EF2E}"/>
          </ac:spMkLst>
        </pc:spChg>
        <pc:spChg chg="add mod">
          <ac:chgData name="María Angélica Sanhueza Morales" userId="85279dce-b293-495c-b4c2-11bb9e5fe887" providerId="ADAL" clId="{579A27A9-9391-4AD8-A49D-29BE8F8DEB5F}" dt="2026-03-10T12:39:28.958" v="327" actId="6549"/>
          <ac:spMkLst>
            <pc:docMk/>
            <pc:sldMk cId="2705814186" sldId="2375"/>
            <ac:spMk id="26" creationId="{9D034665-0887-4BBF-FE1C-97F72F57AB7C}"/>
          </ac:spMkLst>
        </pc:spChg>
        <pc:spChg chg="del">
          <ac:chgData name="María Angélica Sanhueza Morales" userId="85279dce-b293-495c-b4c2-11bb9e5fe887" providerId="ADAL" clId="{579A27A9-9391-4AD8-A49D-29BE8F8DEB5F}" dt="2026-03-10T12:04:59.869" v="18" actId="478"/>
          <ac:spMkLst>
            <pc:docMk/>
            <pc:sldMk cId="2705814186" sldId="2375"/>
            <ac:spMk id="28" creationId="{8A47273F-79DA-9D03-7404-337E96B11505}"/>
          </ac:spMkLst>
        </pc:spChg>
        <pc:spChg chg="add mod">
          <ac:chgData name="María Angélica Sanhueza Morales" userId="85279dce-b293-495c-b4c2-11bb9e5fe887" providerId="ADAL" clId="{579A27A9-9391-4AD8-A49D-29BE8F8DEB5F}" dt="2026-03-10T12:55:46.231" v="491" actId="1076"/>
          <ac:spMkLst>
            <pc:docMk/>
            <pc:sldMk cId="2705814186" sldId="2375"/>
            <ac:spMk id="47" creationId="{E69072CD-AFCD-1F9F-8B76-35D74E61BDA4}"/>
          </ac:spMkLst>
        </pc:spChg>
        <pc:grpChg chg="del">
          <ac:chgData name="María Angélica Sanhueza Morales" userId="85279dce-b293-495c-b4c2-11bb9e5fe887" providerId="ADAL" clId="{579A27A9-9391-4AD8-A49D-29BE8F8DEB5F}" dt="2026-03-10T12:05:03.643" v="21" actId="478"/>
          <ac:grpSpMkLst>
            <pc:docMk/>
            <pc:sldMk cId="2705814186" sldId="2375"/>
            <ac:grpSpMk id="44" creationId="{B3CB16CB-DAC7-4459-4C52-1B1193638A2D}"/>
          </ac:grpSpMkLst>
        </pc:grpChg>
        <pc:picChg chg="del">
          <ac:chgData name="María Angélica Sanhueza Morales" userId="85279dce-b293-495c-b4c2-11bb9e5fe887" providerId="ADAL" clId="{579A27A9-9391-4AD8-A49D-29BE8F8DEB5F}" dt="2026-03-10T12:05:06.551" v="23" actId="478"/>
          <ac:picMkLst>
            <pc:docMk/>
            <pc:sldMk cId="2705814186" sldId="2375"/>
            <ac:picMk id="10" creationId="{89138FEA-A4F8-2EFB-264D-458BC2CAE2FE}"/>
          </ac:picMkLst>
        </pc:picChg>
        <pc:picChg chg="del">
          <ac:chgData name="María Angélica Sanhueza Morales" userId="85279dce-b293-495c-b4c2-11bb9e5fe887" providerId="ADAL" clId="{579A27A9-9391-4AD8-A49D-29BE8F8DEB5F}" dt="2026-03-10T12:05:01.426" v="19" actId="478"/>
          <ac:picMkLst>
            <pc:docMk/>
            <pc:sldMk cId="2705814186" sldId="2375"/>
            <ac:picMk id="12" creationId="{57A27C40-23AF-B473-F092-957BD70D6ED7}"/>
          </ac:picMkLst>
        </pc:picChg>
        <pc:picChg chg="del">
          <ac:chgData name="María Angélica Sanhueza Morales" userId="85279dce-b293-495c-b4c2-11bb9e5fe887" providerId="ADAL" clId="{579A27A9-9391-4AD8-A49D-29BE8F8DEB5F}" dt="2026-03-10T12:05:10.255" v="26" actId="478"/>
          <ac:picMkLst>
            <pc:docMk/>
            <pc:sldMk cId="2705814186" sldId="2375"/>
            <ac:picMk id="14" creationId="{291DD607-859C-6EE9-A857-0AE78BF43E53}"/>
          </ac:picMkLst>
        </pc:picChg>
        <pc:picChg chg="del">
          <ac:chgData name="María Angélica Sanhueza Morales" userId="85279dce-b293-495c-b4c2-11bb9e5fe887" providerId="ADAL" clId="{579A27A9-9391-4AD8-A49D-29BE8F8DEB5F}" dt="2026-03-10T12:05:09.338" v="25" actId="478"/>
          <ac:picMkLst>
            <pc:docMk/>
            <pc:sldMk cId="2705814186" sldId="2375"/>
            <ac:picMk id="20" creationId="{68353504-F0BC-8119-92D0-323F165211DF}"/>
          </ac:picMkLst>
        </pc:picChg>
        <pc:picChg chg="add del mod">
          <ac:chgData name="María Angélica Sanhueza Morales" userId="85279dce-b293-495c-b4c2-11bb9e5fe887" providerId="ADAL" clId="{579A27A9-9391-4AD8-A49D-29BE8F8DEB5F}" dt="2026-03-10T12:40:28.676" v="333" actId="478"/>
          <ac:picMkLst>
            <pc:docMk/>
            <pc:sldMk cId="2705814186" sldId="2375"/>
            <ac:picMk id="29" creationId="{7776123F-1A16-1410-C02E-392A06706E42}"/>
          </ac:picMkLst>
        </pc:picChg>
        <pc:picChg chg="add mod">
          <ac:chgData name="María Angélica Sanhueza Morales" userId="85279dce-b293-495c-b4c2-11bb9e5fe887" providerId="ADAL" clId="{579A27A9-9391-4AD8-A49D-29BE8F8DEB5F}" dt="2026-03-10T12:40:47.778" v="337" actId="1076"/>
          <ac:picMkLst>
            <pc:docMk/>
            <pc:sldMk cId="2705814186" sldId="2375"/>
            <ac:picMk id="31" creationId="{9052F042-CAB1-E50A-31BB-6A8968AB1F7A}"/>
          </ac:picMkLst>
        </pc:picChg>
        <pc:picChg chg="add mod">
          <ac:chgData name="María Angélica Sanhueza Morales" userId="85279dce-b293-495c-b4c2-11bb9e5fe887" providerId="ADAL" clId="{579A27A9-9391-4AD8-A49D-29BE8F8DEB5F}" dt="2026-03-10T12:41:04.339" v="341" actId="1076"/>
          <ac:picMkLst>
            <pc:docMk/>
            <pc:sldMk cId="2705814186" sldId="2375"/>
            <ac:picMk id="34" creationId="{103B7C64-BC57-7087-5A14-20D72867BA14}"/>
          </ac:picMkLst>
        </pc:picChg>
        <pc:picChg chg="add mod">
          <ac:chgData name="María Angélica Sanhueza Morales" userId="85279dce-b293-495c-b4c2-11bb9e5fe887" providerId="ADAL" clId="{579A27A9-9391-4AD8-A49D-29BE8F8DEB5F}" dt="2026-03-10T12:41:20.360" v="345" actId="1076"/>
          <ac:picMkLst>
            <pc:docMk/>
            <pc:sldMk cId="2705814186" sldId="2375"/>
            <ac:picMk id="38" creationId="{D869568A-77AB-7287-2655-B78EDB598339}"/>
          </ac:picMkLst>
        </pc:picChg>
        <pc:picChg chg="del mod">
          <ac:chgData name="María Angélica Sanhueza Morales" userId="85279dce-b293-495c-b4c2-11bb9e5fe887" providerId="ADAL" clId="{579A27A9-9391-4AD8-A49D-29BE8F8DEB5F}" dt="2026-03-10T12:06:06.364" v="47" actId="478"/>
          <ac:picMkLst>
            <pc:docMk/>
            <pc:sldMk cId="2705814186" sldId="2375"/>
            <ac:picMk id="39" creationId="{C8A61B97-8FEB-1755-C938-06F4CBCBE00B}"/>
          </ac:picMkLst>
        </pc:picChg>
        <pc:picChg chg="add mod">
          <ac:chgData name="María Angélica Sanhueza Morales" userId="85279dce-b293-495c-b4c2-11bb9e5fe887" providerId="ADAL" clId="{579A27A9-9391-4AD8-A49D-29BE8F8DEB5F}" dt="2026-03-10T12:41:38.039" v="349" actId="1076"/>
          <ac:picMkLst>
            <pc:docMk/>
            <pc:sldMk cId="2705814186" sldId="2375"/>
            <ac:picMk id="46" creationId="{6B070996-0D82-B34B-9FDF-5D974743A09F}"/>
          </ac:picMkLst>
        </pc:picChg>
        <pc:cxnChg chg="mod">
          <ac:chgData name="María Angélica Sanhueza Morales" userId="85279dce-b293-495c-b4c2-11bb9e5fe887" providerId="ADAL" clId="{579A27A9-9391-4AD8-A49D-29BE8F8DEB5F}" dt="2026-03-10T12:05:03.643" v="21" actId="478"/>
          <ac:cxnSpMkLst>
            <pc:docMk/>
            <pc:sldMk cId="2705814186" sldId="2375"/>
            <ac:cxnSpMk id="33" creationId="{A69C5C1F-A5BA-825A-EDAC-DDCFAF9A8BA6}"/>
          </ac:cxnSpMkLst>
        </pc:cxnChg>
      </pc:sldChg>
      <pc:sldChg chg="del">
        <pc:chgData name="María Angélica Sanhueza Morales" userId="85279dce-b293-495c-b4c2-11bb9e5fe887" providerId="ADAL" clId="{579A27A9-9391-4AD8-A49D-29BE8F8DEB5F}" dt="2026-03-10T12:05:25.106" v="30" actId="47"/>
        <pc:sldMkLst>
          <pc:docMk/>
          <pc:sldMk cId="1265243721" sldId="2376"/>
        </pc:sldMkLst>
      </pc:sldChg>
      <pc:sldChg chg="addSp delSp modSp add mod ord">
        <pc:chgData name="María Angélica Sanhueza Morales" userId="85279dce-b293-495c-b4c2-11bb9e5fe887" providerId="ADAL" clId="{579A27A9-9391-4AD8-A49D-29BE8F8DEB5F}" dt="2026-03-10T14:17:32.241" v="890" actId="14100"/>
        <pc:sldMkLst>
          <pc:docMk/>
          <pc:sldMk cId="3643716169" sldId="2376"/>
        </pc:sldMkLst>
        <pc:spChg chg="add mod">
          <ac:chgData name="María Angélica Sanhueza Morales" userId="85279dce-b293-495c-b4c2-11bb9e5fe887" providerId="ADAL" clId="{579A27A9-9391-4AD8-A49D-29BE8F8DEB5F}" dt="2026-03-10T13:04:44.111" v="684" actId="20577"/>
          <ac:spMkLst>
            <pc:docMk/>
            <pc:sldMk cId="3643716169" sldId="2376"/>
            <ac:spMk id="7" creationId="{FD213400-995F-9469-D84D-3297F556CA9B}"/>
          </ac:spMkLst>
        </pc:spChg>
        <pc:picChg chg="add del mod">
          <ac:chgData name="María Angélica Sanhueza Morales" userId="85279dce-b293-495c-b4c2-11bb9e5fe887" providerId="ADAL" clId="{579A27A9-9391-4AD8-A49D-29BE8F8DEB5F}" dt="2026-03-10T12:49:59.689" v="413" actId="478"/>
          <ac:picMkLst>
            <pc:docMk/>
            <pc:sldMk cId="3643716169" sldId="2376"/>
            <ac:picMk id="3" creationId="{3DEAA6A1-822C-A790-A56F-69A2947BDCC9}"/>
          </ac:picMkLst>
        </pc:picChg>
        <pc:picChg chg="add mod">
          <ac:chgData name="María Angélica Sanhueza Morales" userId="85279dce-b293-495c-b4c2-11bb9e5fe887" providerId="ADAL" clId="{579A27A9-9391-4AD8-A49D-29BE8F8DEB5F}" dt="2026-03-10T14:17:32.241" v="890" actId="14100"/>
          <ac:picMkLst>
            <pc:docMk/>
            <pc:sldMk cId="3643716169" sldId="2376"/>
            <ac:picMk id="5" creationId="{4E463344-15E8-0935-763C-2F3CCE975E62}"/>
          </ac:picMkLst>
        </pc:picChg>
      </pc:sldChg>
      <pc:sldChg chg="addSp delSp modSp add del">
        <pc:chgData name="María Angélica Sanhueza Morales" userId="85279dce-b293-495c-b4c2-11bb9e5fe887" providerId="ADAL" clId="{579A27A9-9391-4AD8-A49D-29BE8F8DEB5F}" dt="2026-03-10T13:10:15.794" v="717" actId="47"/>
        <pc:sldMkLst>
          <pc:docMk/>
          <pc:sldMk cId="318655159" sldId="2377"/>
        </pc:sldMkLst>
        <pc:picChg chg="add del mod">
          <ac:chgData name="María Angélica Sanhueza Morales" userId="85279dce-b293-495c-b4c2-11bb9e5fe887" providerId="ADAL" clId="{579A27A9-9391-4AD8-A49D-29BE8F8DEB5F}" dt="2026-03-10T13:10:13.631" v="716" actId="478"/>
          <ac:picMkLst>
            <pc:docMk/>
            <pc:sldMk cId="318655159" sldId="2377"/>
            <ac:picMk id="2" creationId="{32925C9B-D54B-D0F2-0FA4-1598FAA32BF6}"/>
          </ac:picMkLst>
        </pc:picChg>
      </pc:sldChg>
      <pc:sldChg chg="delSp modSp del mod">
        <pc:chgData name="María Angélica Sanhueza Morales" userId="85279dce-b293-495c-b4c2-11bb9e5fe887" providerId="ADAL" clId="{579A27A9-9391-4AD8-A49D-29BE8F8DEB5F}" dt="2026-03-10T12:06:09.224" v="48" actId="47"/>
        <pc:sldMkLst>
          <pc:docMk/>
          <pc:sldMk cId="786795912" sldId="2377"/>
        </pc:sldMkLst>
        <pc:spChg chg="del">
          <ac:chgData name="María Angélica Sanhueza Morales" userId="85279dce-b293-495c-b4c2-11bb9e5fe887" providerId="ADAL" clId="{579A27A9-9391-4AD8-A49D-29BE8F8DEB5F}" dt="2026-03-10T12:05:37.890" v="35" actId="478"/>
          <ac:spMkLst>
            <pc:docMk/>
            <pc:sldMk cId="786795912" sldId="2377"/>
            <ac:spMk id="11" creationId="{A5ADC202-DE7E-16D3-2621-4813466E90E5}"/>
          </ac:spMkLst>
        </pc:spChg>
        <pc:spChg chg="del">
          <ac:chgData name="María Angélica Sanhueza Morales" userId="85279dce-b293-495c-b4c2-11bb9e5fe887" providerId="ADAL" clId="{579A27A9-9391-4AD8-A49D-29BE8F8DEB5F}" dt="2026-03-10T12:05:41.316" v="37" actId="478"/>
          <ac:spMkLst>
            <pc:docMk/>
            <pc:sldMk cId="786795912" sldId="2377"/>
            <ac:spMk id="868" creationId="{0DC8D5F1-412D-0DCF-A8F5-E4D0EBA91051}"/>
          </ac:spMkLst>
        </pc:spChg>
        <pc:grpChg chg="del">
          <ac:chgData name="María Angélica Sanhueza Morales" userId="85279dce-b293-495c-b4c2-11bb9e5fe887" providerId="ADAL" clId="{579A27A9-9391-4AD8-A49D-29BE8F8DEB5F}" dt="2026-03-10T12:05:30.520" v="32" actId="478"/>
          <ac:grpSpMkLst>
            <pc:docMk/>
            <pc:sldMk cId="786795912" sldId="2377"/>
            <ac:grpSpMk id="44" creationId="{30053843-C493-98E6-11DE-0404EE873474}"/>
          </ac:grpSpMkLst>
        </pc:grpChg>
        <pc:picChg chg="del">
          <ac:chgData name="María Angélica Sanhueza Morales" userId="85279dce-b293-495c-b4c2-11bb9e5fe887" providerId="ADAL" clId="{579A27A9-9391-4AD8-A49D-29BE8F8DEB5F}" dt="2026-03-10T12:05:36.144" v="34" actId="478"/>
          <ac:picMkLst>
            <pc:docMk/>
            <pc:sldMk cId="786795912" sldId="2377"/>
            <ac:picMk id="7" creationId="{2BA2F32A-33E6-60BD-B9FA-3338945613EE}"/>
          </ac:picMkLst>
        </pc:picChg>
        <pc:picChg chg="del">
          <ac:chgData name="María Angélica Sanhueza Morales" userId="85279dce-b293-495c-b4c2-11bb9e5fe887" providerId="ADAL" clId="{579A27A9-9391-4AD8-A49D-29BE8F8DEB5F}" dt="2026-03-10T12:05:39.429" v="36" actId="478"/>
          <ac:picMkLst>
            <pc:docMk/>
            <pc:sldMk cId="786795912" sldId="2377"/>
            <ac:picMk id="9" creationId="{5EA65BD5-68E4-CED3-1D67-A7C073E384D6}"/>
          </ac:picMkLst>
        </pc:picChg>
        <pc:picChg chg="del">
          <ac:chgData name="María Angélica Sanhueza Morales" userId="85279dce-b293-495c-b4c2-11bb9e5fe887" providerId="ADAL" clId="{579A27A9-9391-4AD8-A49D-29BE8F8DEB5F}" dt="2026-03-10T12:05:34.483" v="33" actId="478"/>
          <ac:picMkLst>
            <pc:docMk/>
            <pc:sldMk cId="786795912" sldId="2377"/>
            <ac:picMk id="10" creationId="{9C48177C-2B55-809B-B24B-6D81D2F18A22}"/>
          </ac:picMkLst>
        </pc:picChg>
        <pc:picChg chg="del">
          <ac:chgData name="María Angélica Sanhueza Morales" userId="85279dce-b293-495c-b4c2-11bb9e5fe887" providerId="ADAL" clId="{579A27A9-9391-4AD8-A49D-29BE8F8DEB5F}" dt="2026-03-10T12:05:43.862" v="40" actId="478"/>
          <ac:picMkLst>
            <pc:docMk/>
            <pc:sldMk cId="786795912" sldId="2377"/>
            <ac:picMk id="12" creationId="{7DCD356D-5659-22C0-0715-300E60386B12}"/>
          </ac:picMkLst>
        </pc:picChg>
        <pc:picChg chg="del">
          <ac:chgData name="María Angélica Sanhueza Morales" userId="85279dce-b293-495c-b4c2-11bb9e5fe887" providerId="ADAL" clId="{579A27A9-9391-4AD8-A49D-29BE8F8DEB5F}" dt="2026-03-10T12:05:43.138" v="39" actId="478"/>
          <ac:picMkLst>
            <pc:docMk/>
            <pc:sldMk cId="786795912" sldId="2377"/>
            <ac:picMk id="14" creationId="{7C3757AE-2C3B-01D5-33F3-DBDA7252A8E9}"/>
          </ac:picMkLst>
        </pc:picChg>
        <pc:picChg chg="del">
          <ac:chgData name="María Angélica Sanhueza Morales" userId="85279dce-b293-495c-b4c2-11bb9e5fe887" providerId="ADAL" clId="{579A27A9-9391-4AD8-A49D-29BE8F8DEB5F}" dt="2026-03-10T12:05:42.462" v="38" actId="478"/>
          <ac:picMkLst>
            <pc:docMk/>
            <pc:sldMk cId="786795912" sldId="2377"/>
            <ac:picMk id="20" creationId="{31F77A4A-D11E-A55C-FCB3-FA8F0ED90D90}"/>
          </ac:picMkLst>
        </pc:picChg>
        <pc:cxnChg chg="mod">
          <ac:chgData name="María Angélica Sanhueza Morales" userId="85279dce-b293-495c-b4c2-11bb9e5fe887" providerId="ADAL" clId="{579A27A9-9391-4AD8-A49D-29BE8F8DEB5F}" dt="2026-03-10T12:05:30.520" v="32" actId="478"/>
          <ac:cxnSpMkLst>
            <pc:docMk/>
            <pc:sldMk cId="786795912" sldId="2377"/>
            <ac:cxnSpMk id="33" creationId="{D82001A8-76D8-101C-BB8A-E2A2A7FF5ED0}"/>
          </ac:cxnSpMkLst>
        </pc:cxnChg>
      </pc:sldChg>
      <pc:sldChg chg="del">
        <pc:chgData name="María Angélica Sanhueza Morales" userId="85279dce-b293-495c-b4c2-11bb9e5fe887" providerId="ADAL" clId="{579A27A9-9391-4AD8-A49D-29BE8F8DEB5F}" dt="2026-03-10T12:05:26.869" v="31" actId="47"/>
        <pc:sldMkLst>
          <pc:docMk/>
          <pc:sldMk cId="121164598" sldId="2378"/>
        </pc:sldMkLst>
      </pc:sldChg>
      <pc:sldChg chg="addSp delSp modSp add mod modAnim">
        <pc:chgData name="María Angélica Sanhueza Morales" userId="85279dce-b293-495c-b4c2-11bb9e5fe887" providerId="ADAL" clId="{579A27A9-9391-4AD8-A49D-29BE8F8DEB5F}" dt="2026-03-10T14:45:59.811" v="1178"/>
        <pc:sldMkLst>
          <pc:docMk/>
          <pc:sldMk cId="3505648154" sldId="2378"/>
        </pc:sldMkLst>
        <pc:spChg chg="add del mod">
          <ac:chgData name="María Angélica Sanhueza Morales" userId="85279dce-b293-495c-b4c2-11bb9e5fe887" providerId="ADAL" clId="{579A27A9-9391-4AD8-A49D-29BE8F8DEB5F}" dt="2026-03-10T13:14:23.648" v="721" actId="478"/>
          <ac:spMkLst>
            <pc:docMk/>
            <pc:sldMk cId="3505648154" sldId="2378"/>
            <ac:spMk id="5" creationId="{8C5DD225-35E7-0948-074F-2F0BF21CEF40}"/>
          </ac:spMkLst>
        </pc:spChg>
        <pc:spChg chg="add mod">
          <ac:chgData name="María Angélica Sanhueza Morales" userId="85279dce-b293-495c-b4c2-11bb9e5fe887" providerId="ADAL" clId="{579A27A9-9391-4AD8-A49D-29BE8F8DEB5F}" dt="2026-03-10T14:14:52.668" v="880" actId="20577"/>
          <ac:spMkLst>
            <pc:docMk/>
            <pc:sldMk cId="3505648154" sldId="2378"/>
            <ac:spMk id="13" creationId="{A24B3168-38A1-07D1-6147-CD3947743B7D}"/>
          </ac:spMkLst>
        </pc:spChg>
        <pc:picChg chg="add mod">
          <ac:chgData name="María Angélica Sanhueza Morales" userId="85279dce-b293-495c-b4c2-11bb9e5fe887" providerId="ADAL" clId="{579A27A9-9391-4AD8-A49D-29BE8F8DEB5F}" dt="2026-03-10T14:13:21.457" v="846" actId="1076"/>
          <ac:picMkLst>
            <pc:docMk/>
            <pc:sldMk cId="3505648154" sldId="2378"/>
            <ac:picMk id="3" creationId="{3744617F-6875-A275-2324-2E4FA03A55DD}"/>
          </ac:picMkLst>
        </pc:picChg>
        <pc:picChg chg="add mod">
          <ac:chgData name="María Angélica Sanhueza Morales" userId="85279dce-b293-495c-b4c2-11bb9e5fe887" providerId="ADAL" clId="{579A27A9-9391-4AD8-A49D-29BE8F8DEB5F}" dt="2026-03-10T14:15:15.460" v="883" actId="1076"/>
          <ac:picMkLst>
            <pc:docMk/>
            <pc:sldMk cId="3505648154" sldId="2378"/>
            <ac:picMk id="7" creationId="{CB532AB6-8525-1F68-634A-41B7AA29C089}"/>
          </ac:picMkLst>
        </pc:picChg>
        <pc:picChg chg="add mod">
          <ac:chgData name="María Angélica Sanhueza Morales" userId="85279dce-b293-495c-b4c2-11bb9e5fe887" providerId="ADAL" clId="{579A27A9-9391-4AD8-A49D-29BE8F8DEB5F}" dt="2026-03-10T14:15:01.377" v="881" actId="14100"/>
          <ac:picMkLst>
            <pc:docMk/>
            <pc:sldMk cId="3505648154" sldId="2378"/>
            <ac:picMk id="9" creationId="{132BB480-91DC-5BB8-8A5A-03FA24A3138F}"/>
          </ac:picMkLst>
        </pc:picChg>
        <pc:picChg chg="add mod">
          <ac:chgData name="María Angélica Sanhueza Morales" userId="85279dce-b293-495c-b4c2-11bb9e5fe887" providerId="ADAL" clId="{579A27A9-9391-4AD8-A49D-29BE8F8DEB5F}" dt="2026-03-10T14:13:33" v="847" actId="1076"/>
          <ac:picMkLst>
            <pc:docMk/>
            <pc:sldMk cId="3505648154" sldId="2378"/>
            <ac:picMk id="11" creationId="{9C8EA84D-BDD5-B110-A75F-1682BBC34885}"/>
          </ac:picMkLst>
        </pc:picChg>
        <pc:picChg chg="add del mod">
          <ac:chgData name="María Angélica Sanhueza Morales" userId="85279dce-b293-495c-b4c2-11bb9e5fe887" providerId="ADAL" clId="{579A27A9-9391-4AD8-A49D-29BE8F8DEB5F}" dt="2026-03-10T14:13:09.997" v="844" actId="478"/>
          <ac:picMkLst>
            <pc:docMk/>
            <pc:sldMk cId="3505648154" sldId="2378"/>
            <ac:picMk id="14" creationId="{BF7C542A-E20F-DEEA-DB8E-8CDEBDFB2328}"/>
          </ac:picMkLst>
        </pc:picChg>
      </pc:sldChg>
      <pc:sldChg chg="del">
        <pc:chgData name="María Angélica Sanhueza Morales" userId="85279dce-b293-495c-b4c2-11bb9e5fe887" providerId="ADAL" clId="{579A27A9-9391-4AD8-A49D-29BE8F8DEB5F}" dt="2026-03-10T12:07:20.480" v="57" actId="47"/>
        <pc:sldMkLst>
          <pc:docMk/>
          <pc:sldMk cId="2490279865" sldId="2379"/>
        </pc:sldMkLst>
      </pc:sldChg>
      <pc:sldChg chg="addSp delSp modSp add mod modAnim">
        <pc:chgData name="María Angélica Sanhueza Morales" userId="85279dce-b293-495c-b4c2-11bb9e5fe887" providerId="ADAL" clId="{579A27A9-9391-4AD8-A49D-29BE8F8DEB5F}" dt="2026-03-10T14:45:36.484" v="1174"/>
        <pc:sldMkLst>
          <pc:docMk/>
          <pc:sldMk cId="4269308231" sldId="2379"/>
        </pc:sldMkLst>
        <pc:spChg chg="mod">
          <ac:chgData name="María Angélica Sanhueza Morales" userId="85279dce-b293-495c-b4c2-11bb9e5fe887" providerId="ADAL" clId="{579A27A9-9391-4AD8-A49D-29BE8F8DEB5F}" dt="2026-03-10T13:07:18.557" v="703" actId="14100"/>
          <ac:spMkLst>
            <pc:docMk/>
            <pc:sldMk cId="4269308231" sldId="2379"/>
            <ac:spMk id="2" creationId="{5E383B7B-274E-61F1-5363-AB2790A22D00}"/>
          </ac:spMkLst>
        </pc:spChg>
        <pc:spChg chg="del">
          <ac:chgData name="María Angélica Sanhueza Morales" userId="85279dce-b293-495c-b4c2-11bb9e5fe887" providerId="ADAL" clId="{579A27A9-9391-4AD8-A49D-29BE8F8DEB5F}" dt="2026-03-10T12:33:52.341" v="288" actId="478"/>
          <ac:spMkLst>
            <pc:docMk/>
            <pc:sldMk cId="4269308231" sldId="2379"/>
            <ac:spMk id="6" creationId="{CF5E507A-D5E0-1490-2A56-71EAE7DB00EA}"/>
          </ac:spMkLst>
        </pc:spChg>
        <pc:spChg chg="del">
          <ac:chgData name="María Angélica Sanhueza Morales" userId="85279dce-b293-495c-b4c2-11bb9e5fe887" providerId="ADAL" clId="{579A27A9-9391-4AD8-A49D-29BE8F8DEB5F}" dt="2026-03-10T12:33:51.494" v="287" actId="478"/>
          <ac:spMkLst>
            <pc:docMk/>
            <pc:sldMk cId="4269308231" sldId="2379"/>
            <ac:spMk id="7" creationId="{FE7D4E05-3F59-882A-FBA4-8642E23D909C}"/>
          </ac:spMkLst>
        </pc:spChg>
        <pc:spChg chg="del">
          <ac:chgData name="María Angélica Sanhueza Morales" userId="85279dce-b293-495c-b4c2-11bb9e5fe887" providerId="ADAL" clId="{579A27A9-9391-4AD8-A49D-29BE8F8DEB5F}" dt="2026-03-10T13:06:25.901" v="690" actId="478"/>
          <ac:spMkLst>
            <pc:docMk/>
            <pc:sldMk cId="4269308231" sldId="2379"/>
            <ac:spMk id="8" creationId="{9B0EC4A4-C45E-74CA-E44E-A835BEE2BA85}"/>
          </ac:spMkLst>
        </pc:spChg>
        <pc:spChg chg="del">
          <ac:chgData name="María Angélica Sanhueza Morales" userId="85279dce-b293-495c-b4c2-11bb9e5fe887" providerId="ADAL" clId="{579A27A9-9391-4AD8-A49D-29BE8F8DEB5F}" dt="2026-03-10T13:06:26.940" v="691" actId="478"/>
          <ac:spMkLst>
            <pc:docMk/>
            <pc:sldMk cId="4269308231" sldId="2379"/>
            <ac:spMk id="9" creationId="{21B267DC-C6DA-D087-B38B-30C1BC78ABDE}"/>
          </ac:spMkLst>
        </pc:spChg>
        <pc:spChg chg="del">
          <ac:chgData name="María Angélica Sanhueza Morales" userId="85279dce-b293-495c-b4c2-11bb9e5fe887" providerId="ADAL" clId="{579A27A9-9391-4AD8-A49D-29BE8F8DEB5F}" dt="2026-03-10T13:06:27.746" v="692" actId="478"/>
          <ac:spMkLst>
            <pc:docMk/>
            <pc:sldMk cId="4269308231" sldId="2379"/>
            <ac:spMk id="10" creationId="{A2C4D41E-64DA-9618-5DAC-0C7458F137EC}"/>
          </ac:spMkLst>
        </pc:spChg>
        <pc:spChg chg="mod">
          <ac:chgData name="María Angélica Sanhueza Morales" userId="85279dce-b293-495c-b4c2-11bb9e5fe887" providerId="ADAL" clId="{579A27A9-9391-4AD8-A49D-29BE8F8DEB5F}" dt="2026-03-10T13:07:31.514" v="704" actId="1076"/>
          <ac:spMkLst>
            <pc:docMk/>
            <pc:sldMk cId="4269308231" sldId="2379"/>
            <ac:spMk id="60" creationId="{406C440F-A510-CE00-D307-68038DB04329}"/>
          </ac:spMkLst>
        </pc:spChg>
        <pc:grpChg chg="del">
          <ac:chgData name="María Angélica Sanhueza Morales" userId="85279dce-b293-495c-b4c2-11bb9e5fe887" providerId="ADAL" clId="{579A27A9-9391-4AD8-A49D-29BE8F8DEB5F}" dt="2026-03-10T12:33:53.276" v="289" actId="478"/>
          <ac:grpSpMkLst>
            <pc:docMk/>
            <pc:sldMk cId="4269308231" sldId="2379"/>
            <ac:grpSpMk id="35" creationId="{A1738C3D-661F-9AE8-A48B-C628A500FC50}"/>
          </ac:grpSpMkLst>
        </pc:grpChg>
        <pc:grpChg chg="del">
          <ac:chgData name="María Angélica Sanhueza Morales" userId="85279dce-b293-495c-b4c2-11bb9e5fe887" providerId="ADAL" clId="{579A27A9-9391-4AD8-A49D-29BE8F8DEB5F}" dt="2026-03-10T12:33:48.605" v="285" actId="478"/>
          <ac:grpSpMkLst>
            <pc:docMk/>
            <pc:sldMk cId="4269308231" sldId="2379"/>
            <ac:grpSpMk id="58" creationId="{9A46F334-2672-CB0B-6813-5FFCD59BE605}"/>
          </ac:grpSpMkLst>
        </pc:grpChg>
        <pc:picChg chg="del">
          <ac:chgData name="María Angélica Sanhueza Morales" userId="85279dce-b293-495c-b4c2-11bb9e5fe887" providerId="ADAL" clId="{579A27A9-9391-4AD8-A49D-29BE8F8DEB5F}" dt="2026-03-10T12:33:54.350" v="290" actId="478"/>
          <ac:picMkLst>
            <pc:docMk/>
            <pc:sldMk cId="4269308231" sldId="2379"/>
            <ac:picMk id="3" creationId="{4724F0F7-6756-5896-B607-6E9CAA4493C3}"/>
          </ac:picMkLst>
        </pc:picChg>
        <pc:picChg chg="del">
          <ac:chgData name="María Angélica Sanhueza Morales" userId="85279dce-b293-495c-b4c2-11bb9e5fe887" providerId="ADAL" clId="{579A27A9-9391-4AD8-A49D-29BE8F8DEB5F}" dt="2026-03-10T12:33:49.582" v="286" actId="478"/>
          <ac:picMkLst>
            <pc:docMk/>
            <pc:sldMk cId="4269308231" sldId="2379"/>
            <ac:picMk id="5" creationId="{DBB4E738-9EA5-C0A9-24C6-ACD8DFB53FB3}"/>
          </ac:picMkLst>
        </pc:picChg>
        <pc:picChg chg="add mod">
          <ac:chgData name="María Angélica Sanhueza Morales" userId="85279dce-b293-495c-b4c2-11bb9e5fe887" providerId="ADAL" clId="{579A27A9-9391-4AD8-A49D-29BE8F8DEB5F}" dt="2026-03-10T13:06:57.131" v="699" actId="14100"/>
          <ac:picMkLst>
            <pc:docMk/>
            <pc:sldMk cId="4269308231" sldId="2379"/>
            <ac:picMk id="12" creationId="{3AAC2E53-1CFB-9F05-8925-79196B67C7A5}"/>
          </ac:picMkLst>
        </pc:picChg>
        <pc:picChg chg="del">
          <ac:chgData name="María Angélica Sanhueza Morales" userId="85279dce-b293-495c-b4c2-11bb9e5fe887" providerId="ADAL" clId="{579A27A9-9391-4AD8-A49D-29BE8F8DEB5F}" dt="2026-03-10T12:33:47.598" v="284" actId="478"/>
          <ac:picMkLst>
            <pc:docMk/>
            <pc:sldMk cId="4269308231" sldId="2379"/>
            <ac:picMk id="1026" creationId="{AF0965C8-2261-6E06-7AF7-A72DF7BFFF15}"/>
          </ac:picMkLst>
        </pc:picChg>
        <pc:cxnChg chg="del">
          <ac:chgData name="María Angélica Sanhueza Morales" userId="85279dce-b293-495c-b4c2-11bb9e5fe887" providerId="ADAL" clId="{579A27A9-9391-4AD8-A49D-29BE8F8DEB5F}" dt="2026-03-10T13:06:32.816" v="693" actId="478"/>
          <ac:cxnSpMkLst>
            <pc:docMk/>
            <pc:sldMk cId="4269308231" sldId="2379"/>
            <ac:cxnSpMk id="63" creationId="{4C272B87-B178-93F1-025A-1FA29B9FEF9F}"/>
          </ac:cxnSpMkLst>
        </pc:cxnChg>
      </pc:sldChg>
      <pc:sldChg chg="addSp delSp modSp add mod ord modAnim">
        <pc:chgData name="María Angélica Sanhueza Morales" userId="85279dce-b293-495c-b4c2-11bb9e5fe887" providerId="ADAL" clId="{579A27A9-9391-4AD8-A49D-29BE8F8DEB5F}" dt="2026-03-10T14:43:57.405" v="1158"/>
        <pc:sldMkLst>
          <pc:docMk/>
          <pc:sldMk cId="487038733" sldId="2380"/>
        </pc:sldMkLst>
        <pc:spChg chg="add del">
          <ac:chgData name="María Angélica Sanhueza Morales" userId="85279dce-b293-495c-b4c2-11bb9e5fe887" providerId="ADAL" clId="{579A27A9-9391-4AD8-A49D-29BE8F8DEB5F}" dt="2026-03-10T12:54:00.785" v="451" actId="22"/>
          <ac:spMkLst>
            <pc:docMk/>
            <pc:sldMk cId="487038733" sldId="2380"/>
            <ac:spMk id="8" creationId="{95664EC4-DB9F-399C-4C69-9407E0975398}"/>
          </ac:spMkLst>
        </pc:spChg>
        <pc:spChg chg="add mod">
          <ac:chgData name="María Angélica Sanhueza Morales" userId="85279dce-b293-495c-b4c2-11bb9e5fe887" providerId="ADAL" clId="{579A27A9-9391-4AD8-A49D-29BE8F8DEB5F}" dt="2026-03-10T12:56:52.815" v="537" actId="20577"/>
          <ac:spMkLst>
            <pc:docMk/>
            <pc:sldMk cId="487038733" sldId="2380"/>
            <ac:spMk id="14" creationId="{A2C5741F-5893-19AD-CD3D-2D5F8A81EEAA}"/>
          </ac:spMkLst>
        </pc:spChg>
        <pc:picChg chg="add mod">
          <ac:chgData name="María Angélica Sanhueza Morales" userId="85279dce-b293-495c-b4c2-11bb9e5fe887" providerId="ADAL" clId="{579A27A9-9391-4AD8-A49D-29BE8F8DEB5F}" dt="2026-03-10T12:53:25.238" v="445" actId="1076"/>
          <ac:picMkLst>
            <pc:docMk/>
            <pc:sldMk cId="487038733" sldId="2380"/>
            <ac:picMk id="4" creationId="{52D99CE6-BE06-D3ED-FA1B-0507D1F45439}"/>
          </ac:picMkLst>
        </pc:picChg>
        <pc:picChg chg="add mod">
          <ac:chgData name="María Angélica Sanhueza Morales" userId="85279dce-b293-495c-b4c2-11bb9e5fe887" providerId="ADAL" clId="{579A27A9-9391-4AD8-A49D-29BE8F8DEB5F}" dt="2026-03-10T12:55:01.921" v="460" actId="1076"/>
          <ac:picMkLst>
            <pc:docMk/>
            <pc:sldMk cId="487038733" sldId="2380"/>
            <ac:picMk id="6" creationId="{BC36815E-0D01-D214-2B15-63B3AF39C170}"/>
          </ac:picMkLst>
        </pc:picChg>
        <pc:picChg chg="add mod">
          <ac:chgData name="María Angélica Sanhueza Morales" userId="85279dce-b293-495c-b4c2-11bb9e5fe887" providerId="ADAL" clId="{579A27A9-9391-4AD8-A49D-29BE8F8DEB5F}" dt="2026-03-10T12:55:07.314" v="461" actId="1076"/>
          <ac:picMkLst>
            <pc:docMk/>
            <pc:sldMk cId="487038733" sldId="2380"/>
            <ac:picMk id="11" creationId="{3D127432-6440-B77B-A8C1-2F62988BCE71}"/>
          </ac:picMkLst>
        </pc:picChg>
        <pc:picChg chg="add mod">
          <ac:chgData name="María Angélica Sanhueza Morales" userId="85279dce-b293-495c-b4c2-11bb9e5fe887" providerId="ADAL" clId="{579A27A9-9391-4AD8-A49D-29BE8F8DEB5F}" dt="2026-03-10T12:55:09.800" v="462" actId="1076"/>
          <ac:picMkLst>
            <pc:docMk/>
            <pc:sldMk cId="487038733" sldId="2380"/>
            <ac:picMk id="13" creationId="{99EB3FAD-C491-3C5C-B1CA-1F345F74C77E}"/>
          </ac:picMkLst>
        </pc:picChg>
      </pc:sldChg>
      <pc:sldChg chg="addSp delSp modSp add del mod">
        <pc:chgData name="María Angélica Sanhueza Morales" userId="85279dce-b293-495c-b4c2-11bb9e5fe887" providerId="ADAL" clId="{579A27A9-9391-4AD8-A49D-29BE8F8DEB5F}" dt="2026-03-10T13:13:01.265" v="718" actId="47"/>
        <pc:sldMkLst>
          <pc:docMk/>
          <pc:sldMk cId="4168036443" sldId="2381"/>
        </pc:sldMkLst>
        <pc:spChg chg="add mod">
          <ac:chgData name="María Angélica Sanhueza Morales" userId="85279dce-b293-495c-b4c2-11bb9e5fe887" providerId="ADAL" clId="{579A27A9-9391-4AD8-A49D-29BE8F8DEB5F}" dt="2026-03-10T12:56:08.960" v="512" actId="20577"/>
          <ac:spMkLst>
            <pc:docMk/>
            <pc:sldMk cId="4168036443" sldId="2381"/>
            <ac:spMk id="3" creationId="{29DFCD72-8846-7A30-9566-3C5B02F25A89}"/>
          </ac:spMkLst>
        </pc:spChg>
        <pc:spChg chg="del">
          <ac:chgData name="María Angélica Sanhueza Morales" userId="85279dce-b293-495c-b4c2-11bb9e5fe887" providerId="ADAL" clId="{579A27A9-9391-4AD8-A49D-29BE8F8DEB5F}" dt="2026-03-10T12:55:57.423" v="492" actId="478"/>
          <ac:spMkLst>
            <pc:docMk/>
            <pc:sldMk cId="4168036443" sldId="2381"/>
            <ac:spMk id="47" creationId="{7AC3C694-2B90-65F9-AF7B-0D8511F99BC3}"/>
          </ac:spMkLst>
        </pc:spChg>
      </pc:sldChg>
      <pc:sldChg chg="addSp delSp modSp add mod modAnim">
        <pc:chgData name="María Angélica Sanhueza Morales" userId="85279dce-b293-495c-b4c2-11bb9e5fe887" providerId="ADAL" clId="{579A27A9-9391-4AD8-A49D-29BE8F8DEB5F}" dt="2026-03-10T14:44:54.031" v="1167"/>
        <pc:sldMkLst>
          <pc:docMk/>
          <pc:sldMk cId="2551636317" sldId="2382"/>
        </pc:sldMkLst>
        <pc:spChg chg="mod">
          <ac:chgData name="María Angélica Sanhueza Morales" userId="85279dce-b293-495c-b4c2-11bb9e5fe887" providerId="ADAL" clId="{579A27A9-9391-4AD8-A49D-29BE8F8DEB5F}" dt="2026-03-10T13:01:34.517" v="644" actId="1076"/>
          <ac:spMkLst>
            <pc:docMk/>
            <pc:sldMk cId="2551636317" sldId="2382"/>
            <ac:spMk id="868" creationId="{E654B270-248F-3864-B6EA-45410F7ACAF6}"/>
          </ac:spMkLst>
        </pc:spChg>
        <pc:grpChg chg="del">
          <ac:chgData name="María Angélica Sanhueza Morales" userId="85279dce-b293-495c-b4c2-11bb9e5fe887" providerId="ADAL" clId="{579A27A9-9391-4AD8-A49D-29BE8F8DEB5F}" dt="2026-03-10T13:01:00.631" v="607" actId="478"/>
          <ac:grpSpMkLst>
            <pc:docMk/>
            <pc:sldMk cId="2551636317" sldId="2382"/>
            <ac:grpSpMk id="15" creationId="{456517F7-AACF-FE0C-4C6F-51FBAE9AD825}"/>
          </ac:grpSpMkLst>
        </pc:grpChg>
        <pc:picChg chg="add mod">
          <ac:chgData name="María Angélica Sanhueza Morales" userId="85279dce-b293-495c-b4c2-11bb9e5fe887" providerId="ADAL" clId="{579A27A9-9391-4AD8-A49D-29BE8F8DEB5F}" dt="2026-03-10T13:01:45.589" v="645" actId="1076"/>
          <ac:picMkLst>
            <pc:docMk/>
            <pc:sldMk cId="2551636317" sldId="2382"/>
            <ac:picMk id="17" creationId="{5CD0F585-43E7-9283-F046-83AB82EFAE0E}"/>
          </ac:picMkLst>
        </pc:picChg>
        <pc:picChg chg="del">
          <ac:chgData name="María Angélica Sanhueza Morales" userId="85279dce-b293-495c-b4c2-11bb9e5fe887" providerId="ADAL" clId="{579A27A9-9391-4AD8-A49D-29BE8F8DEB5F}" dt="2026-03-10T13:01:06.135" v="611" actId="478"/>
          <ac:picMkLst>
            <pc:docMk/>
            <pc:sldMk cId="2551636317" sldId="2382"/>
            <ac:picMk id="22" creationId="{56C6FE39-B8CC-57A0-36C9-B820B7E4BC61}"/>
          </ac:picMkLst>
        </pc:picChg>
      </pc:sldChg>
      <pc:sldChg chg="modSp add mod">
        <pc:chgData name="María Angélica Sanhueza Morales" userId="85279dce-b293-495c-b4c2-11bb9e5fe887" providerId="ADAL" clId="{579A27A9-9391-4AD8-A49D-29BE8F8DEB5F}" dt="2026-03-10T14:18:10.834" v="891" actId="14100"/>
        <pc:sldMkLst>
          <pc:docMk/>
          <pc:sldMk cId="3777372974" sldId="2383"/>
        </pc:sldMkLst>
        <pc:spChg chg="mod">
          <ac:chgData name="María Angélica Sanhueza Morales" userId="85279dce-b293-495c-b4c2-11bb9e5fe887" providerId="ADAL" clId="{579A27A9-9391-4AD8-A49D-29BE8F8DEB5F}" dt="2026-03-10T13:04:36.951" v="676" actId="20577"/>
          <ac:spMkLst>
            <pc:docMk/>
            <pc:sldMk cId="3777372974" sldId="2383"/>
            <ac:spMk id="7" creationId="{95CFB11C-B72B-E32C-A089-D7F3508DBD10}"/>
          </ac:spMkLst>
        </pc:spChg>
        <pc:picChg chg="mod">
          <ac:chgData name="María Angélica Sanhueza Morales" userId="85279dce-b293-495c-b4c2-11bb9e5fe887" providerId="ADAL" clId="{579A27A9-9391-4AD8-A49D-29BE8F8DEB5F}" dt="2026-03-10T14:18:10.834" v="891" actId="14100"/>
          <ac:picMkLst>
            <pc:docMk/>
            <pc:sldMk cId="3777372974" sldId="2383"/>
            <ac:picMk id="5" creationId="{09D59CFE-09C2-3860-A492-BFA4A04FB687}"/>
          </ac:picMkLst>
        </pc:picChg>
      </pc:sldChg>
      <pc:sldChg chg="addSp delSp modSp add mod modAnim">
        <pc:chgData name="María Angélica Sanhueza Morales" userId="85279dce-b293-495c-b4c2-11bb9e5fe887" providerId="ADAL" clId="{579A27A9-9391-4AD8-A49D-29BE8F8DEB5F}" dt="2026-03-10T14:40:57.161" v="1145"/>
        <pc:sldMkLst>
          <pc:docMk/>
          <pc:sldMk cId="2918661183" sldId="2384"/>
        </pc:sldMkLst>
        <pc:spChg chg="add mod">
          <ac:chgData name="María Angélica Sanhueza Morales" userId="85279dce-b293-495c-b4c2-11bb9e5fe887" providerId="ADAL" clId="{579A27A9-9391-4AD8-A49D-29BE8F8DEB5F}" dt="2026-03-10T14:39:30.411" v="1135" actId="1076"/>
          <ac:spMkLst>
            <pc:docMk/>
            <pc:sldMk cId="2918661183" sldId="2384"/>
            <ac:spMk id="3" creationId="{361341A4-50E3-6497-5E95-52061A89CA4B}"/>
          </ac:spMkLst>
        </pc:spChg>
        <pc:spChg chg="add mod ord">
          <ac:chgData name="María Angélica Sanhueza Morales" userId="85279dce-b293-495c-b4c2-11bb9e5fe887" providerId="ADAL" clId="{579A27A9-9391-4AD8-A49D-29BE8F8DEB5F}" dt="2026-03-10T14:39:34.950" v="1136" actId="1076"/>
          <ac:spMkLst>
            <pc:docMk/>
            <pc:sldMk cId="2918661183" sldId="2384"/>
            <ac:spMk id="17" creationId="{8A274E75-8785-200D-FFCC-5A5A78779BEF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25" creationId="{45854970-703C-5AE3-ABB1-42A3F0E9D4E4}"/>
          </ac:spMkLst>
        </pc:spChg>
        <pc:spChg chg="del mod">
          <ac:chgData name="María Angélica Sanhueza Morales" userId="85279dce-b293-495c-b4c2-11bb9e5fe887" providerId="ADAL" clId="{579A27A9-9391-4AD8-A49D-29BE8F8DEB5F}" dt="2026-03-10T14:37:29.422" v="1111" actId="478"/>
          <ac:spMkLst>
            <pc:docMk/>
            <pc:sldMk cId="2918661183" sldId="2384"/>
            <ac:spMk id="27" creationId="{C69174F4-4F57-D488-5E82-A1E036BB6731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32" creationId="{BF2A058B-F56D-2BB0-412E-B2154E0D6348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33" creationId="{B30F304D-9265-45B9-0A39-6F465732E5B1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34" creationId="{24923692-7B8F-DD03-BF7A-6CE7786DACA0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35" creationId="{881BC7C9-F611-C947-A707-E84A58BAF825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36" creationId="{E1E3DA80-3FDF-C1F6-3049-24C4FE345137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38" creationId="{B84E8679-3301-510B-D17A-72733775F349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39" creationId="{23F09DB8-535A-B01F-67B8-BB9D59F84DF3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40" creationId="{8E8297AA-E847-302E-89B8-AF723DF7F5D3}"/>
          </ac:spMkLst>
        </pc:spChg>
        <pc:spChg chg="mod">
          <ac:chgData name="María Angélica Sanhueza Morales" userId="85279dce-b293-495c-b4c2-11bb9e5fe887" providerId="ADAL" clId="{579A27A9-9391-4AD8-A49D-29BE8F8DEB5F}" dt="2026-03-10T14:40:02.206" v="1142" actId="1076"/>
          <ac:spMkLst>
            <pc:docMk/>
            <pc:sldMk cId="2918661183" sldId="2384"/>
            <ac:spMk id="41" creationId="{A4C4342D-2B92-4F5E-C095-1018DDA454A9}"/>
          </ac:spMkLst>
        </pc:spChg>
        <pc:spChg chg="mod">
          <ac:chgData name="María Angélica Sanhueza Morales" userId="85279dce-b293-495c-b4c2-11bb9e5fe887" providerId="ADAL" clId="{579A27A9-9391-4AD8-A49D-29BE8F8DEB5F}" dt="2026-03-10T14:36:34.806" v="1107" actId="1076"/>
          <ac:spMkLst>
            <pc:docMk/>
            <pc:sldMk cId="2918661183" sldId="2384"/>
            <ac:spMk id="47" creationId="{ACA11A92-3700-E052-B53F-F33B2794271A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48" creationId="{6FA53FD9-6C8B-FDFB-C97B-52EF4FA1E829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52" creationId="{CB830D99-D7B3-38D2-7A2E-16A52EE3A1CC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53" creationId="{977C69E2-BE0E-D121-9207-5B0389116FC5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54" creationId="{EB46D29C-97F5-65A0-62A3-0CF02237F876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55" creationId="{D6B05D9E-0E1C-93B1-8278-5D9B0B0A23CA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56" creationId="{AA50595D-854D-651C-513B-B05C61C3C071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57" creationId="{CC2CE115-9590-C300-813F-C731583659CD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58" creationId="{19B38F18-3515-1B3E-88A3-F46E7C67632E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60" creationId="{3F3FEFEB-23AC-13E5-DC2E-92D3DCF4A5EF}"/>
          </ac:spMkLst>
        </pc:spChg>
        <pc:spChg chg="mod">
          <ac:chgData name="María Angélica Sanhueza Morales" userId="85279dce-b293-495c-b4c2-11bb9e5fe887" providerId="ADAL" clId="{579A27A9-9391-4AD8-A49D-29BE8F8DEB5F}" dt="2026-03-10T14:39:50.919" v="1139" actId="1076"/>
          <ac:spMkLst>
            <pc:docMk/>
            <pc:sldMk cId="2918661183" sldId="2384"/>
            <ac:spMk id="62" creationId="{563CC2D6-DFF9-8B32-C30B-931BD9BCF746}"/>
          </ac:spMkLst>
        </pc:spChg>
        <pc:spChg chg="del mod">
          <ac:chgData name="María Angélica Sanhueza Morales" userId="85279dce-b293-495c-b4c2-11bb9e5fe887" providerId="ADAL" clId="{579A27A9-9391-4AD8-A49D-29BE8F8DEB5F}" dt="2026-03-10T14:26:00.502" v="956" actId="21"/>
          <ac:spMkLst>
            <pc:docMk/>
            <pc:sldMk cId="2918661183" sldId="2384"/>
            <ac:spMk id="868" creationId="{361341A4-50E3-6497-5E95-52061A89CA4B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57" creationId="{EA963D83-D318-52C4-450A-E8BAC15BC4B5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58" creationId="{7F3E3F72-D265-2DF9-E451-AD01D609C158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61" creationId="{64F9BB25-D79E-ACFD-E0CF-695B85C40713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63" creationId="{282F6156-C5D9-4439-019E-A0B9A8E0AFFA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65" creationId="{DEEDB530-14A0-1A07-83DE-6BC3C087BA84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74" creationId="{847053D2-B1C0-15F6-9A60-87495EAEC3EE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77" creationId="{37A15952-6F09-8FD5-F958-E11DC03E7D8F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81" creationId="{F0F2365D-FB0F-FA49-7EDF-226A98134668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82" creationId="{2A10E529-7F95-D46E-02AC-50E58D4B459B}"/>
          </ac:spMkLst>
        </pc:spChg>
        <pc:spChg chg="mod">
          <ac:chgData name="María Angélica Sanhueza Morales" userId="85279dce-b293-495c-b4c2-11bb9e5fe887" providerId="ADAL" clId="{579A27A9-9391-4AD8-A49D-29BE8F8DEB5F}" dt="2026-03-10T14:37:54.846" v="1115"/>
          <ac:spMkLst>
            <pc:docMk/>
            <pc:sldMk cId="2918661183" sldId="2384"/>
            <ac:spMk id="6183" creationId="{B09BC99B-9F30-CCDE-568B-247C60CDEC51}"/>
          </ac:spMkLst>
        </pc:spChg>
        <pc:grpChg chg="mod">
          <ac:chgData name="María Angélica Sanhueza Morales" userId="85279dce-b293-495c-b4c2-11bb9e5fe887" providerId="ADAL" clId="{579A27A9-9391-4AD8-A49D-29BE8F8DEB5F}" dt="2026-03-10T14:29:31.149" v="1061" actId="1076"/>
          <ac:grpSpMkLst>
            <pc:docMk/>
            <pc:sldMk cId="2918661183" sldId="2384"/>
            <ac:grpSpMk id="5" creationId="{26B5BA3C-D547-97E3-A247-B4F94B5BEBC9}"/>
          </ac:grpSpMkLst>
        </pc:grpChg>
        <pc:grpChg chg="del">
          <ac:chgData name="María Angélica Sanhueza Morales" userId="85279dce-b293-495c-b4c2-11bb9e5fe887" providerId="ADAL" clId="{579A27A9-9391-4AD8-A49D-29BE8F8DEB5F}" dt="2026-03-10T14:23:53.820" v="908" actId="478"/>
          <ac:grpSpMkLst>
            <pc:docMk/>
            <pc:sldMk cId="2918661183" sldId="2384"/>
            <ac:grpSpMk id="15" creationId="{7CB4D900-E758-11A8-21E5-BACAE8AC5144}"/>
          </ac:grpSpMkLst>
        </pc:grpChg>
        <pc:picChg chg="add del mod">
          <ac:chgData name="María Angélica Sanhueza Morales" userId="85279dce-b293-495c-b4c2-11bb9e5fe887" providerId="ADAL" clId="{579A27A9-9391-4AD8-A49D-29BE8F8DEB5F}" dt="2026-03-10T14:39:48.655" v="1138" actId="1076"/>
          <ac:picMkLst>
            <pc:docMk/>
            <pc:sldMk cId="2918661183" sldId="2384"/>
            <ac:picMk id="18" creationId="{2E014EA0-69C4-7715-4818-57D64CAEFF4A}"/>
          </ac:picMkLst>
        </pc:picChg>
        <pc:picChg chg="mod">
          <ac:chgData name="María Angélica Sanhueza Morales" userId="85279dce-b293-495c-b4c2-11bb9e5fe887" providerId="ADAL" clId="{579A27A9-9391-4AD8-A49D-29BE8F8DEB5F}" dt="2026-03-10T14:39:05.238" v="1132" actId="1076"/>
          <ac:picMkLst>
            <pc:docMk/>
            <pc:sldMk cId="2918661183" sldId="2384"/>
            <ac:picMk id="63" creationId="{A19D49C5-2370-0622-9E35-5D1C1813EFB7}"/>
          </ac:picMkLst>
        </pc:picChg>
        <pc:picChg chg="mod">
          <ac:chgData name="María Angélica Sanhueza Morales" userId="85279dce-b293-495c-b4c2-11bb9e5fe887" providerId="ADAL" clId="{579A27A9-9391-4AD8-A49D-29BE8F8DEB5F}" dt="2026-03-10T14:38:17.395" v="1121" actId="1076"/>
          <ac:picMkLst>
            <pc:docMk/>
            <pc:sldMk cId="2918661183" sldId="2384"/>
            <ac:picMk id="6144" creationId="{9FFDCB47-4041-DFFF-D72A-F5FE7F4A3F4E}"/>
          </ac:picMkLst>
        </pc:picChg>
        <pc:picChg chg="del">
          <ac:chgData name="María Angélica Sanhueza Morales" userId="85279dce-b293-495c-b4c2-11bb9e5fe887" providerId="ADAL" clId="{579A27A9-9391-4AD8-A49D-29BE8F8DEB5F}" dt="2026-03-10T14:26:07.610" v="957" actId="478"/>
          <ac:picMkLst>
            <pc:docMk/>
            <pc:sldMk cId="2918661183" sldId="2384"/>
            <ac:picMk id="6146" creationId="{EEDD73C0-16A2-3C06-E146-FCC7929A7218}"/>
          </ac:picMkLst>
        </pc:picChg>
      </pc:sldChg>
      <pc:sldChg chg="addSp delSp modSp add mod modAnim">
        <pc:chgData name="María Angélica Sanhueza Morales" userId="85279dce-b293-495c-b4c2-11bb9e5fe887" providerId="ADAL" clId="{579A27A9-9391-4AD8-A49D-29BE8F8DEB5F}" dt="2026-03-10T14:46:21.413" v="1180"/>
        <pc:sldMkLst>
          <pc:docMk/>
          <pc:sldMk cId="1309635212" sldId="2385"/>
        </pc:sldMkLst>
        <pc:spChg chg="mod">
          <ac:chgData name="María Angélica Sanhueza Morales" userId="85279dce-b293-495c-b4c2-11bb9e5fe887" providerId="ADAL" clId="{579A27A9-9391-4AD8-A49D-29BE8F8DEB5F}" dt="2026-03-10T14:21:34.497" v="906" actId="20577"/>
          <ac:spMkLst>
            <pc:docMk/>
            <pc:sldMk cId="1309635212" sldId="2385"/>
            <ac:spMk id="9" creationId="{C7EEB88E-770C-714B-8A49-490F4B2E951C}"/>
          </ac:spMkLst>
        </pc:spChg>
        <pc:picChg chg="add mod">
          <ac:chgData name="María Angélica Sanhueza Morales" userId="85279dce-b293-495c-b4c2-11bb9e5fe887" providerId="ADAL" clId="{579A27A9-9391-4AD8-A49D-29BE8F8DEB5F}" dt="2026-03-10T14:21:02.801" v="899" actId="1076"/>
          <ac:picMkLst>
            <pc:docMk/>
            <pc:sldMk cId="1309635212" sldId="2385"/>
            <ac:picMk id="3" creationId="{C5457035-76A8-C962-BCDB-24ED6644C60A}"/>
          </ac:picMkLst>
        </pc:picChg>
        <pc:picChg chg="add del">
          <ac:chgData name="María Angélica Sanhueza Morales" userId="85279dce-b293-495c-b4c2-11bb9e5fe887" providerId="ADAL" clId="{579A27A9-9391-4AD8-A49D-29BE8F8DEB5F}" dt="2026-03-10T14:20:41.305" v="895" actId="478"/>
          <ac:picMkLst>
            <pc:docMk/>
            <pc:sldMk cId="1309635212" sldId="2385"/>
            <ac:picMk id="8" creationId="{541EA54F-E329-14A5-5C92-46C19E5FF9AC}"/>
          </ac:picMkLst>
        </pc:picChg>
      </pc:sldChg>
      <pc:sldChg chg="addSp delSp modSp add del mod addAnim delAnim modAnim">
        <pc:chgData name="María Angélica Sanhueza Morales" userId="85279dce-b293-495c-b4c2-11bb9e5fe887" providerId="ADAL" clId="{579A27A9-9391-4AD8-A49D-29BE8F8DEB5F}" dt="2026-03-10T14:41:15.876" v="1146" actId="47"/>
        <pc:sldMkLst>
          <pc:docMk/>
          <pc:sldMk cId="2250622123" sldId="2386"/>
        </pc:sldMkLst>
        <pc:spChg chg="add del mod">
          <ac:chgData name="María Angélica Sanhueza Morales" userId="85279dce-b293-495c-b4c2-11bb9e5fe887" providerId="ADAL" clId="{579A27A9-9391-4AD8-A49D-29BE8F8DEB5F}" dt="2026-03-10T14:34:56.841" v="1090" actId="21"/>
          <ac:spMkLst>
            <pc:docMk/>
            <pc:sldMk cId="2250622123" sldId="2386"/>
            <ac:spMk id="3" creationId="{FE80D5AF-B805-547F-ABAF-04525C88695B}"/>
          </ac:spMkLst>
        </pc:spChg>
        <pc:spChg chg="mod">
          <ac:chgData name="María Angélica Sanhueza Morales" userId="85279dce-b293-495c-b4c2-11bb9e5fe887" providerId="ADAL" clId="{579A27A9-9391-4AD8-A49D-29BE8F8DEB5F}" dt="2026-03-10T14:33:11.647" v="1078" actId="14100"/>
          <ac:spMkLst>
            <pc:docMk/>
            <pc:sldMk cId="2250622123" sldId="2386"/>
            <ac:spMk id="17" creationId="{BDEC3D9F-F569-EC08-11C0-F1FCD298F8A9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21" creationId="{5AD41A43-A4B7-D027-425A-4E9B971A98CE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25" creationId="{CCF8F6A5-BD0A-D43F-94AC-E5BB3FEC1EA4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26" creationId="{BD5CECD0-2F95-72EB-4926-69717EFA1DFA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29" creationId="{0FCC41C8-E6A4-B1CB-92D2-B802E5617C1A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30" creationId="{B058E4DA-7193-50E0-F2CD-9C84FA4EEE77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32" creationId="{1ED14E62-B0DB-4A90-03D2-C1A3D4D92EFD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43" creationId="{B7F05E7C-0185-4351-86FC-DB7FD3063B4E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44" creationId="{39DC828F-6287-311E-06BA-261D1C617B33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48" creationId="{7752D586-170C-E9B0-C18E-DC8B62E258E7}"/>
          </ac:spMkLst>
        </pc:spChg>
        <pc:spChg chg="mod">
          <ac:chgData name="María Angélica Sanhueza Morales" userId="85279dce-b293-495c-b4c2-11bb9e5fe887" providerId="ADAL" clId="{579A27A9-9391-4AD8-A49D-29BE8F8DEB5F}" dt="2026-03-10T14:31:32.272" v="1071"/>
          <ac:spMkLst>
            <pc:docMk/>
            <pc:sldMk cId="2250622123" sldId="2386"/>
            <ac:spMk id="52" creationId="{B14784BD-7817-B793-203C-B1D7C37CC39D}"/>
          </ac:spMkLst>
        </pc:spChg>
        <pc:spChg chg="add del mod">
          <ac:chgData name="María Angélica Sanhueza Morales" userId="85279dce-b293-495c-b4c2-11bb9e5fe887" providerId="ADAL" clId="{579A27A9-9391-4AD8-A49D-29BE8F8DEB5F}" dt="2026-03-10T14:35:01.846" v="1098" actId="11529"/>
          <ac:spMkLst>
            <pc:docMk/>
            <pc:sldMk cId="2250622123" sldId="2386"/>
            <ac:spMk id="54" creationId="{D07F8FA6-A812-1C12-A6D6-864AF142564E}"/>
          </ac:spMkLst>
        </pc:spChg>
        <pc:spChg chg="add mod">
          <ac:chgData name="María Angélica Sanhueza Morales" userId="85279dce-b293-495c-b4c2-11bb9e5fe887" providerId="ADAL" clId="{579A27A9-9391-4AD8-A49D-29BE8F8DEB5F}" dt="2026-03-10T14:34:53.357" v="1088"/>
          <ac:spMkLst>
            <pc:docMk/>
            <pc:sldMk cId="2250622123" sldId="2386"/>
            <ac:spMk id="55" creationId="{FE80D5AF-B805-547F-ABAF-04525C88695B}"/>
          </ac:spMkLst>
        </pc:spChg>
        <pc:grpChg chg="mod">
          <ac:chgData name="María Angélica Sanhueza Morales" userId="85279dce-b293-495c-b4c2-11bb9e5fe887" providerId="ADAL" clId="{579A27A9-9391-4AD8-A49D-29BE8F8DEB5F}" dt="2026-03-10T14:32:17.166" v="1074" actId="167"/>
          <ac:grpSpMkLst>
            <pc:docMk/>
            <pc:sldMk cId="2250622123" sldId="2386"/>
            <ac:grpSpMk id="4" creationId="{8A8A9730-BE30-4A7F-8230-98873B98602A}"/>
          </ac:grpSpMkLst>
        </pc:grpChg>
        <pc:grpChg chg="mod">
          <ac:chgData name="María Angélica Sanhueza Morales" userId="85279dce-b293-495c-b4c2-11bb9e5fe887" providerId="ADAL" clId="{579A27A9-9391-4AD8-A49D-29BE8F8DEB5F}" dt="2026-03-10T14:32:17.166" v="1074" actId="167"/>
          <ac:grpSpMkLst>
            <pc:docMk/>
            <pc:sldMk cId="2250622123" sldId="2386"/>
            <ac:grpSpMk id="33" creationId="{053401ED-853C-1145-23B2-BB9624BD33B3}"/>
          </ac:grpSpMkLst>
        </pc:grpChg>
        <pc:picChg chg="mod">
          <ac:chgData name="María Angélica Sanhueza Morales" userId="85279dce-b293-495c-b4c2-11bb9e5fe887" providerId="ADAL" clId="{579A27A9-9391-4AD8-A49D-29BE8F8DEB5F}" dt="2026-03-10T14:32:17.166" v="1074" actId="167"/>
          <ac:picMkLst>
            <pc:docMk/>
            <pc:sldMk cId="2250622123" sldId="2386"/>
            <ac:picMk id="2" creationId="{FAC947B2-C371-D7A8-2052-64AC0C88BF0E}"/>
          </ac:picMkLst>
        </pc:picChg>
      </pc:sldChg>
      <pc:sldMasterChg chg="delSldLayout">
        <pc:chgData name="María Angélica Sanhueza Morales" userId="85279dce-b293-495c-b4c2-11bb9e5fe887" providerId="ADAL" clId="{579A27A9-9391-4AD8-A49D-29BE8F8DEB5F}" dt="2026-03-10T14:22:16.969" v="907" actId="47"/>
        <pc:sldMasterMkLst>
          <pc:docMk/>
          <pc:sldMasterMk cId="0" sldId="2147483648"/>
        </pc:sldMasterMkLst>
        <pc:sldLayoutChg chg="del">
          <pc:chgData name="María Angélica Sanhueza Morales" userId="85279dce-b293-495c-b4c2-11bb9e5fe887" providerId="ADAL" clId="{579A27A9-9391-4AD8-A49D-29BE8F8DEB5F}" dt="2026-03-10T14:22:16.969" v="907" actId="47"/>
          <pc:sldLayoutMkLst>
            <pc:docMk/>
            <pc:sldMasterMk cId="0" sldId="2147483648"/>
            <pc:sldLayoutMk cId="2762795677" sldId="214748382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1543" cy="2098857"/>
          </a:xfrm>
          <a:prstGeom prst="rect">
            <a:avLst/>
          </a:prstGeom>
        </p:spPr>
        <p:txBody>
          <a:bodyPr vert="horz" lIns="183273" tIns="91637" rIns="183273" bIns="91637" rtlCol="0"/>
          <a:lstStyle>
            <a:lvl1pPr algn="l">
              <a:defRPr sz="24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5622799" y="1"/>
            <a:ext cx="4301543" cy="2098857"/>
          </a:xfrm>
          <a:prstGeom prst="rect">
            <a:avLst/>
          </a:prstGeom>
        </p:spPr>
        <p:txBody>
          <a:bodyPr vert="horz" lIns="183273" tIns="91637" rIns="183273" bIns="91637" rtlCol="0"/>
          <a:lstStyle>
            <a:lvl1pPr algn="r">
              <a:defRPr sz="2400"/>
            </a:lvl1pPr>
          </a:lstStyle>
          <a:p>
            <a:fld id="{5D1C4697-EA3D-4BE4-9A67-7E5D983B96A0}" type="datetimeFigureOut">
              <a:rPr lang="es-ES" smtClean="0"/>
              <a:t>10/03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-7585075" y="5229225"/>
            <a:ext cx="25096788" cy="14117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83273" tIns="91637" rIns="183273" bIns="91637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992665" y="20131577"/>
            <a:ext cx="7941310" cy="16471289"/>
          </a:xfrm>
          <a:prstGeom prst="rect">
            <a:avLst/>
          </a:prstGeom>
        </p:spPr>
        <p:txBody>
          <a:bodyPr vert="horz" lIns="183273" tIns="91637" rIns="183273" bIns="91637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39732997"/>
            <a:ext cx="4301543" cy="2098852"/>
          </a:xfrm>
          <a:prstGeom prst="rect">
            <a:avLst/>
          </a:prstGeom>
        </p:spPr>
        <p:txBody>
          <a:bodyPr vert="horz" lIns="183273" tIns="91637" rIns="183273" bIns="91637" rtlCol="0" anchor="b"/>
          <a:lstStyle>
            <a:lvl1pPr algn="l">
              <a:defRPr sz="24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5622799" y="39732997"/>
            <a:ext cx="4301543" cy="2098852"/>
          </a:xfrm>
          <a:prstGeom prst="rect">
            <a:avLst/>
          </a:prstGeom>
        </p:spPr>
        <p:txBody>
          <a:bodyPr vert="horz" lIns="183273" tIns="91637" rIns="183273" bIns="91637" rtlCol="0" anchor="b"/>
          <a:lstStyle>
            <a:lvl1pPr algn="r">
              <a:defRPr sz="2400"/>
            </a:lvl1pPr>
          </a:lstStyle>
          <a:p>
            <a:fld id="{7889E3BD-5EFB-4019-A8F5-989842BF97B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7335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89E3BD-5EFB-4019-A8F5-989842BF97B9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470088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57370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5F2799-7E2D-37AB-4EB5-3E2AA13124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240776F-EB30-0BE8-90D2-2B76FA0C8D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B291951-71D6-6402-5979-BAE90AFEC5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4F69C1-651F-EC36-3AB6-B31DA1311D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4179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59CFFC-9775-F61A-5721-69BAC7F9CD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FF320B6-3C1B-E3EB-965E-DA4891C570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DC6C3A8-8130-3325-1AEA-393594E3B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4E695F1-D865-F78F-B16D-37DF7781E7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931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89E3BD-5EFB-4019-A8F5-989842BF97B9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39402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B4E42-C309-CB81-522C-9311FDF3F6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57059AE-9C38-4BA7-0A77-EB1A7EEC11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71217E-6BCD-5A35-1119-1C46EF7E27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DB0E4A1-369C-1F77-6277-4FEB8E3028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548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3D125E-86F1-90C8-3CCF-59630516F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8A0C75C-CE68-300C-FB02-1245E2C968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F16EE80-2B68-A306-E066-A40739B0D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6497C79-2886-FBAD-5523-D6114DED89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56810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50321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8F949-4961-C8EB-ABA1-3A12E2607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FE4B7D6-B092-6727-0639-6D0B41ED33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D99BCD2-E116-B216-2720-626E2D6C64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7C66CE8-6A6C-0E0E-3F8F-0324C0E509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93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846799-4004-C931-0129-B846FD6423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553F738-0EF0-3360-F826-22E58C721F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5FCC64D-B931-690C-8865-344113AD4A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215B478-80EA-8A00-49C4-458A8B0495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6555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52099-E032-905A-186F-A3E7F8E7D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2D38AD9-AA4B-9CCF-DEC4-DECDBA9F32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AB7950F-C6FF-7CDA-8BF6-6F358C70D9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DB66F63-2ECC-A548-95EA-67C15828B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26944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BA6C81-54C9-EBBF-BF02-D82CC07CC5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969DF87-5E3C-6C89-7EFE-3F0C0F8B4A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0167FC2-DB82-00DD-0635-8B2DAC832C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F2C508A-A343-D46D-C985-14393BFFBE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89E3BD-5EFB-4019-A8F5-989842BF97B9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19540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D423B-AA30-E32B-996E-E133D2099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6C40396-EC14-3976-7E42-E22087F320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81153AA-0AD9-DDC3-17C3-CF205851F9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BBFC653-77EB-F49C-AF9E-8E735FCD86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89E3BD-5EFB-4019-A8F5-989842BF97B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662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_1 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posición de imagen 11">
            <a:extLst>
              <a:ext uri="{FF2B5EF4-FFF2-40B4-BE49-F238E27FC236}">
                <a16:creationId xmlns:a16="http://schemas.microsoft.com/office/drawing/2014/main" id="{2FECD3F3-345C-450A-9800-1FB6EABA45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8DA6BB90-57DC-4BBF-B255-47F33835CD5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688596"/>
            <a:ext cx="12192000" cy="31694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39A99ED-F51D-4F3D-B241-7853539ABC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0916" y="4647600"/>
            <a:ext cx="8244113" cy="70165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ítulo de portada 1 línea 40pt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F4CFAF-8F9D-4261-A107-1FA86C4C11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0916" y="5254064"/>
            <a:ext cx="8244113" cy="580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Subtítulo de portada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5DCB46-A1F0-4AC9-B89C-365FC24E5C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3233" y="6286958"/>
            <a:ext cx="2743200" cy="365125"/>
          </a:xfrm>
        </p:spPr>
        <p:txBody>
          <a:bodyPr/>
          <a:lstStyle/>
          <a:p>
            <a:fld id="{5D1D43D0-EABC-463C-AC2F-7AA45C429E31}" type="datetime4">
              <a:rPr lang="es-ES" smtClean="0"/>
              <a:t>10 de marzo de 2026</a:t>
            </a:fld>
            <a:endParaRPr lang="es-ES"/>
          </a:p>
        </p:txBody>
      </p:sp>
      <p:sp>
        <p:nvSpPr>
          <p:cNvPr id="6" name="Marcador de posición de imagen 5">
            <a:extLst>
              <a:ext uri="{FF2B5EF4-FFF2-40B4-BE49-F238E27FC236}">
                <a16:creationId xmlns:a16="http://schemas.microsoft.com/office/drawing/2014/main" id="{A1435EAC-854A-41FE-BCBD-87E01691BE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65938" y="5873858"/>
            <a:ext cx="1798637" cy="6618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s-ES"/>
              <a:t>INSERTAR LOGOTIPO</a:t>
            </a:r>
          </a:p>
        </p:txBody>
      </p:sp>
    </p:spTree>
    <p:extLst>
      <p:ext uri="{BB962C8B-B14F-4D97-AF65-F5344CB8AC3E}">
        <p14:creationId xmlns:p14="http://schemas.microsoft.com/office/powerpoint/2010/main" val="3187290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3653" y="973315"/>
            <a:ext cx="7732059" cy="3222168"/>
          </a:xfrm>
          <a:prstGeom prst="rect">
            <a:avLst/>
          </a:prstGeom>
        </p:spPr>
        <p:txBody>
          <a:bodyPr/>
          <a:lstStyle>
            <a:lvl1pPr>
              <a:lnSpc>
                <a:spcPts val="42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s-ES"/>
              <a:t>Texto para citas sum dolor Arial Regular 40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9600" y="6410942"/>
            <a:ext cx="41148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0688" y="4328427"/>
            <a:ext cx="3089275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20pt</a:t>
            </a:r>
          </a:p>
        </p:txBody>
      </p:sp>
    </p:spTree>
    <p:extLst>
      <p:ext uri="{BB962C8B-B14F-4D97-AF65-F5344CB8AC3E}">
        <p14:creationId xmlns:p14="http://schemas.microsoft.com/office/powerpoint/2010/main" val="108373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_1_1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0446" y="3014720"/>
            <a:ext cx="5446711" cy="1259106"/>
          </a:xfrm>
          <a:prstGeom prst="rect">
            <a:avLst/>
          </a:prstGeom>
        </p:spPr>
        <p:txBody>
          <a:bodyPr/>
          <a:lstStyle>
            <a:lvl1pPr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 err="1"/>
              <a:t>Tit</a:t>
            </a:r>
            <a:r>
              <a:rPr lang="es-ES"/>
              <a:t> 1 </a:t>
            </a:r>
            <a:r>
              <a:rPr lang="es-ES" err="1"/>
              <a:t>lín</a:t>
            </a:r>
            <a:r>
              <a:rPr lang="es-ES"/>
              <a:t> Arial </a:t>
            </a:r>
            <a:r>
              <a:rPr lang="es-ES" err="1"/>
              <a:t>Reg</a:t>
            </a:r>
            <a:r>
              <a:rPr lang="es-ES"/>
              <a:t> 40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6135" y="6410942"/>
            <a:ext cx="2743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4139" y="2748700"/>
            <a:ext cx="1389062" cy="138515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 i="0">
                <a:solidFill>
                  <a:schemeClr val="bg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0</a:t>
            </a:r>
          </a:p>
        </p:txBody>
      </p:sp>
      <p:sp>
        <p:nvSpPr>
          <p:cNvPr id="10" name="Marcador de texto 6">
            <a:extLst>
              <a:ext uri="{FF2B5EF4-FFF2-40B4-BE49-F238E27FC236}">
                <a16:creationId xmlns:a16="http://schemas.microsoft.com/office/drawing/2014/main" id="{C0E7AEBD-E497-DB4A-9890-928CCD52A7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1150" y="3667539"/>
            <a:ext cx="5446711" cy="6062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de sección 25pt</a:t>
            </a:r>
          </a:p>
        </p:txBody>
      </p:sp>
    </p:spTree>
    <p:extLst>
      <p:ext uri="{BB962C8B-B14F-4D97-AF65-F5344CB8AC3E}">
        <p14:creationId xmlns:p14="http://schemas.microsoft.com/office/powerpoint/2010/main" val="37996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45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_1_2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0446" y="3017457"/>
            <a:ext cx="5447415" cy="1162648"/>
          </a:xfrm>
          <a:prstGeom prst="rect">
            <a:avLst/>
          </a:prstGeom>
        </p:spPr>
        <p:txBody>
          <a:bodyPr/>
          <a:lstStyle>
            <a:lvl1pPr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en 2 líneas</a:t>
            </a:r>
            <a:br>
              <a:rPr lang="es-ES"/>
            </a:br>
            <a:r>
              <a:rPr lang="es-ES"/>
              <a:t>Arial Regular 40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6400" y="6410942"/>
            <a:ext cx="2743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4139" y="2748700"/>
            <a:ext cx="1389062" cy="138515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 i="0">
                <a:solidFill>
                  <a:schemeClr val="bg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0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D275200-6618-452C-9565-A66E8E227B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1150" y="4180105"/>
            <a:ext cx="5446713" cy="590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de sección 25pt</a:t>
            </a:r>
          </a:p>
        </p:txBody>
      </p:sp>
    </p:spTree>
    <p:extLst>
      <p:ext uri="{BB962C8B-B14F-4D97-AF65-F5344CB8AC3E}">
        <p14:creationId xmlns:p14="http://schemas.microsoft.com/office/powerpoint/2010/main" val="248130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_1_3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400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6400" y="6411600"/>
            <a:ext cx="2743200" cy="3636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4139" y="2748700"/>
            <a:ext cx="1389062" cy="138515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 i="0">
                <a:solidFill>
                  <a:schemeClr val="bg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0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5DDC2A71-F0A7-854D-BB1D-7D4559953C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1150" y="4716817"/>
            <a:ext cx="5446713" cy="590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de sección 25pt</a:t>
            </a: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52E7B1A1-AC07-7B4C-8AD4-95759624E6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0446" y="3017457"/>
            <a:ext cx="5447415" cy="1699360"/>
          </a:xfrm>
          <a:prstGeom prst="rect">
            <a:avLst/>
          </a:prstGeom>
        </p:spPr>
        <p:txBody>
          <a:bodyPr/>
          <a:lstStyle>
            <a:lvl1pPr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en 3 líneas</a:t>
            </a:r>
            <a:br>
              <a:rPr lang="es-ES"/>
            </a:br>
            <a:r>
              <a:rPr lang="es-ES"/>
              <a:t>Arial Regular 40pt</a:t>
            </a:r>
            <a:br>
              <a:rPr lang="es-ES"/>
            </a:br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1065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_2_1 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246" y="2534652"/>
            <a:ext cx="5447415" cy="62433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 err="1"/>
              <a:t>Tit</a:t>
            </a:r>
            <a:r>
              <a:rPr lang="es-ES"/>
              <a:t> 1 </a:t>
            </a:r>
            <a:r>
              <a:rPr lang="es-ES" err="1"/>
              <a:t>lín</a:t>
            </a:r>
            <a:r>
              <a:rPr lang="es-ES"/>
              <a:t> Arial </a:t>
            </a:r>
            <a:r>
              <a:rPr lang="es-ES" err="1"/>
              <a:t>Reg</a:t>
            </a:r>
            <a:r>
              <a:rPr lang="es-ES"/>
              <a:t> 40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149" y="2247900"/>
            <a:ext cx="1371601" cy="1371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 i="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0</a:t>
            </a:r>
          </a:p>
        </p:txBody>
      </p:sp>
      <p:sp>
        <p:nvSpPr>
          <p:cNvPr id="10" name="Marcador de texto 6">
            <a:extLst>
              <a:ext uri="{FF2B5EF4-FFF2-40B4-BE49-F238E27FC236}">
                <a16:creationId xmlns:a16="http://schemas.microsoft.com/office/drawing/2014/main" id="{A5D016A7-E3A7-6B45-A3A2-E38C5BF9C0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2950" y="3158987"/>
            <a:ext cx="5446713" cy="590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de sección 25pt</a:t>
            </a:r>
          </a:p>
        </p:txBody>
      </p:sp>
      <p:sp>
        <p:nvSpPr>
          <p:cNvPr id="12" name="Marcador de pie de página 4">
            <a:extLst>
              <a:ext uri="{FF2B5EF4-FFF2-40B4-BE49-F238E27FC236}">
                <a16:creationId xmlns:a16="http://schemas.microsoft.com/office/drawing/2014/main" id="{6D457ACF-5688-6142-A3D2-025B24674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52246" y="6410942"/>
            <a:ext cx="3786551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</p:spTree>
    <p:extLst>
      <p:ext uri="{BB962C8B-B14F-4D97-AF65-F5344CB8AC3E}">
        <p14:creationId xmlns:p14="http://schemas.microsoft.com/office/powerpoint/2010/main" val="2552462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92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ILLA_2_2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248" y="2534652"/>
            <a:ext cx="5447415" cy="115824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2 líneas </a:t>
            </a:r>
            <a:br>
              <a:rPr lang="es-ES"/>
            </a:br>
            <a:r>
              <a:rPr lang="es-ES"/>
              <a:t>Arial </a:t>
            </a:r>
            <a:r>
              <a:rPr lang="es-ES" err="1"/>
              <a:t>Reg</a:t>
            </a:r>
            <a:r>
              <a:rPr lang="es-ES"/>
              <a:t> 40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149" y="2247900"/>
            <a:ext cx="1371601" cy="1371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 i="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0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AAA705E8-D9E4-9744-857B-E881C20027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2950" y="3692897"/>
            <a:ext cx="5446713" cy="590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de sección 25pt</a:t>
            </a:r>
          </a:p>
        </p:txBody>
      </p:sp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90706EF3-7B62-F649-8683-4E2EA3FCF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54000" y="6410942"/>
            <a:ext cx="3787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</p:spTree>
    <p:extLst>
      <p:ext uri="{BB962C8B-B14F-4D97-AF65-F5344CB8AC3E}">
        <p14:creationId xmlns:p14="http://schemas.microsoft.com/office/powerpoint/2010/main" val="3570948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TADILLA_2_3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248" y="2534652"/>
            <a:ext cx="5447415" cy="1712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3 líneas </a:t>
            </a:r>
            <a:br>
              <a:rPr lang="es-ES"/>
            </a:br>
            <a:r>
              <a:rPr lang="es-ES"/>
              <a:t>Arial </a:t>
            </a:r>
            <a:r>
              <a:rPr lang="es-ES" err="1"/>
              <a:t>Reg</a:t>
            </a:r>
            <a:r>
              <a:rPr lang="es-ES"/>
              <a:t> 40pt</a:t>
            </a:r>
            <a:br>
              <a:rPr lang="es-ES"/>
            </a:br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endParaRPr lang="es-E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149" y="2247900"/>
            <a:ext cx="1371601" cy="1371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 i="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0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AAA705E8-D9E4-9744-857B-E881C20027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2950" y="4246744"/>
            <a:ext cx="5446713" cy="5726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de sección 25pt</a:t>
            </a:r>
          </a:p>
        </p:txBody>
      </p:sp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B8B0C766-6AA4-974B-B06E-3BD0E564C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54000" y="6410942"/>
            <a:ext cx="3787200" cy="3636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</p:spTree>
    <p:extLst>
      <p:ext uri="{BB962C8B-B14F-4D97-AF65-F5344CB8AC3E}">
        <p14:creationId xmlns:p14="http://schemas.microsoft.com/office/powerpoint/2010/main" val="151033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03483" y="2866964"/>
            <a:ext cx="7526417" cy="1230826"/>
          </a:xfrm>
          <a:prstGeom prst="rect">
            <a:avLst/>
          </a:prstGeom>
        </p:spPr>
        <p:txBody>
          <a:bodyPr anchor="t"/>
          <a:lstStyle>
            <a:lvl1pPr>
              <a:lnSpc>
                <a:spcPts val="42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s-ES"/>
              <a:t>Titular en 1, 2 o 3 líneas</a:t>
            </a:r>
            <a:br>
              <a:rPr lang="es-ES"/>
            </a:br>
            <a:r>
              <a:rPr lang="es-ES"/>
              <a:t>en Arial Bold 36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14718" y="6410942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4139" y="2748700"/>
            <a:ext cx="1389062" cy="13851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i="0">
                <a:solidFill>
                  <a:schemeClr val="bg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62047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01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BLANCO_1 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51560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Página Arial Regular 25pt 1 línea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2" name="Marcador de texto 9">
            <a:extLst>
              <a:ext uri="{FF2B5EF4-FFF2-40B4-BE49-F238E27FC236}">
                <a16:creationId xmlns:a16="http://schemas.microsoft.com/office/drawing/2014/main" id="{D242A865-AD12-49B9-9E03-5395F7325A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615660"/>
            <a:ext cx="10515600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142468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BLANCO_2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D9C1A665-11C7-2E47-8F63-3898A8AF66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864944" cy="8356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de página en 2 líneas,</a:t>
            </a:r>
            <a:br>
              <a:rPr lang="es-ES"/>
            </a:br>
            <a:r>
              <a:rPr lang="es-ES"/>
              <a:t>Arial Regular 25pt</a:t>
            </a:r>
          </a:p>
        </p:txBody>
      </p:sp>
      <p:sp>
        <p:nvSpPr>
          <p:cNvPr id="13" name="Marcador de texto 9">
            <a:extLst>
              <a:ext uri="{FF2B5EF4-FFF2-40B4-BE49-F238E27FC236}">
                <a16:creationId xmlns:a16="http://schemas.microsoft.com/office/drawing/2014/main" id="{566E5097-8DBE-8D40-8F81-88C41D5D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1029060"/>
            <a:ext cx="10864944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284940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_2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posición de imagen 11">
            <a:extLst>
              <a:ext uri="{FF2B5EF4-FFF2-40B4-BE49-F238E27FC236}">
                <a16:creationId xmlns:a16="http://schemas.microsoft.com/office/drawing/2014/main" id="{2FECD3F3-345C-450A-9800-1FB6EABA45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8DA6BB90-57DC-4BBF-B255-47F33835CD5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688596"/>
            <a:ext cx="12192000" cy="31694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39A99ED-F51D-4F3D-B241-7853539ABC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0916" y="4647863"/>
            <a:ext cx="8244113" cy="1133145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ítulo de portada 2 líneas</a:t>
            </a:r>
            <a:br>
              <a:rPr lang="es-ES"/>
            </a:br>
            <a:r>
              <a:rPr lang="es-ES"/>
              <a:t>Arial Regular 40pt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F4CFAF-8F9D-4261-A107-1FA86C4C11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0916" y="5781009"/>
            <a:ext cx="8244113" cy="50594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Subtítulo de portada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5DCB46-A1F0-4AC9-B89C-365FC24E5C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3233" y="6286958"/>
            <a:ext cx="2743200" cy="365125"/>
          </a:xfrm>
        </p:spPr>
        <p:txBody>
          <a:bodyPr/>
          <a:lstStyle/>
          <a:p>
            <a:fld id="{5D1D43D0-EABC-463C-AC2F-7AA45C429E31}" type="datetime4">
              <a:rPr lang="es-ES" smtClean="0"/>
              <a:t>10 de marzo de 2026</a:t>
            </a:fld>
            <a:endParaRPr lang="es-ES"/>
          </a:p>
        </p:txBody>
      </p:sp>
      <p:sp>
        <p:nvSpPr>
          <p:cNvPr id="6" name="Marcador de posición de imagen 5">
            <a:extLst>
              <a:ext uri="{FF2B5EF4-FFF2-40B4-BE49-F238E27FC236}">
                <a16:creationId xmlns:a16="http://schemas.microsoft.com/office/drawing/2014/main" id="{A1435EAC-854A-41FE-BCBD-87E01691BE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65938" y="5873858"/>
            <a:ext cx="1798637" cy="6618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s-ES"/>
              <a:t>INSERTAR LOGOTIPO</a:t>
            </a:r>
          </a:p>
        </p:txBody>
      </p:sp>
    </p:spTree>
    <p:extLst>
      <p:ext uri="{BB962C8B-B14F-4D97-AF65-F5344CB8AC3E}">
        <p14:creationId xmlns:p14="http://schemas.microsoft.com/office/powerpoint/2010/main" val="422664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2Columnas_1LÍNEA columnas_1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515600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Página Arial Regular 25pt 1 línea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rgbClr val="3C3C3B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rgbClr val="3C3C3B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2" name="Marcador de texto 9">
            <a:extLst>
              <a:ext uri="{FF2B5EF4-FFF2-40B4-BE49-F238E27FC236}">
                <a16:creationId xmlns:a16="http://schemas.microsoft.com/office/drawing/2014/main" id="{D242A865-AD12-49B9-9E03-5395F7325A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615660"/>
            <a:ext cx="10515600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96013CDC-4065-44A2-99BB-945B9E2CAF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514" y="1290637"/>
            <a:ext cx="2562225" cy="11239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s-ES"/>
              <a:t>Título de párrafo en 1 o más líneas en Arial Bold 18pt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5299" y="1289050"/>
            <a:ext cx="8318499" cy="3999529"/>
          </a:xfrm>
          <a:prstGeom prst="rect">
            <a:avLst/>
          </a:prstGeom>
        </p:spPr>
        <p:txBody>
          <a:bodyPr numCol="2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C3C3B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 en dos columnas</a:t>
            </a:r>
          </a:p>
        </p:txBody>
      </p:sp>
    </p:spTree>
    <p:extLst>
      <p:ext uri="{BB962C8B-B14F-4D97-AF65-F5344CB8AC3E}">
        <p14:creationId xmlns:p14="http://schemas.microsoft.com/office/powerpoint/2010/main" val="373107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2Columnas_2LÍNEA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rgbClr val="3C3C3B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rgbClr val="3C3C3B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96013CDC-4065-44A2-99BB-945B9E2CAF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514" y="1630362"/>
            <a:ext cx="2562225" cy="11239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s-ES"/>
              <a:t>Título de párrafo en 1 o más líneas en Arial Bold 18pt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5299" y="1628775"/>
            <a:ext cx="8318499" cy="3999529"/>
          </a:xfrm>
          <a:prstGeom prst="rect">
            <a:avLst/>
          </a:prstGeom>
        </p:spPr>
        <p:txBody>
          <a:bodyPr numCol="2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C3C3B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 en dos columnas</a:t>
            </a: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FDC538A6-3584-C84F-B7C7-89CD8503F5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6"/>
            <a:ext cx="10864944" cy="83567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de página en 2 líneas,</a:t>
            </a:r>
            <a:br>
              <a:rPr lang="es-ES"/>
            </a:br>
            <a:r>
              <a:rPr lang="es-ES"/>
              <a:t>Arial Regular 25pt</a:t>
            </a:r>
          </a:p>
        </p:txBody>
      </p:sp>
      <p:sp>
        <p:nvSpPr>
          <p:cNvPr id="18" name="Marcador de texto 9">
            <a:extLst>
              <a:ext uri="{FF2B5EF4-FFF2-40B4-BE49-F238E27FC236}">
                <a16:creationId xmlns:a16="http://schemas.microsoft.com/office/drawing/2014/main" id="{0B7A1A71-E438-0846-8E14-7107DE75C6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1029060"/>
            <a:ext cx="10864944" cy="5049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147281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TEXTO E IMAGEN 1 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88CFE150-4CCD-44C9-BC37-C9FE1A43D2F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77050" y="0"/>
            <a:ext cx="531495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9600" y="6410942"/>
            <a:ext cx="4114800" cy="365125"/>
          </a:xfrm>
        </p:spPr>
        <p:txBody>
          <a:bodyPr/>
          <a:lstStyle>
            <a:lvl1pPr algn="r"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954" y="1289050"/>
            <a:ext cx="6182285" cy="3999529"/>
          </a:xfrm>
          <a:prstGeom prst="rect">
            <a:avLst/>
          </a:prstGeom>
        </p:spPr>
        <p:txBody>
          <a:bodyPr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.</a:t>
            </a: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38BA1AF3-5860-2D49-90D7-51AE29123A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6182285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Página Arial Regular 25pt 1 línea</a:t>
            </a:r>
          </a:p>
        </p:txBody>
      </p:sp>
      <p:sp>
        <p:nvSpPr>
          <p:cNvPr id="16" name="Marcador de texto 9">
            <a:extLst>
              <a:ext uri="{FF2B5EF4-FFF2-40B4-BE49-F238E27FC236}">
                <a16:creationId xmlns:a16="http://schemas.microsoft.com/office/drawing/2014/main" id="{DFC41F09-7486-214F-B143-0FCECA958B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2954" y="615660"/>
            <a:ext cx="6182285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92906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TEXTO E IMAGEN 2 línea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88CFE150-4CCD-44C9-BC37-C9FE1A43D2F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77050" y="0"/>
            <a:ext cx="531495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6182285" cy="8356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de página en 2 líneas,</a:t>
            </a:r>
            <a:br>
              <a:rPr lang="es-ES"/>
            </a:br>
            <a:r>
              <a:rPr lang="es-ES"/>
              <a:t>Arial Regular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9600" y="6410942"/>
            <a:ext cx="4114800" cy="365125"/>
          </a:xfrm>
        </p:spPr>
        <p:txBody>
          <a:bodyPr/>
          <a:lstStyle>
            <a:lvl1pPr algn="r"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2" name="Marcador de texto 9">
            <a:extLst>
              <a:ext uri="{FF2B5EF4-FFF2-40B4-BE49-F238E27FC236}">
                <a16:creationId xmlns:a16="http://schemas.microsoft.com/office/drawing/2014/main" id="{D242A865-AD12-49B9-9E03-5395F7325A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1029059"/>
            <a:ext cx="6182285" cy="5997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954" y="1628775"/>
            <a:ext cx="6182285" cy="3999529"/>
          </a:xfrm>
          <a:prstGeom prst="rect">
            <a:avLst/>
          </a:prstGeom>
        </p:spPr>
        <p:txBody>
          <a:bodyPr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.</a:t>
            </a:r>
          </a:p>
        </p:txBody>
      </p:sp>
    </p:spTree>
    <p:extLst>
      <p:ext uri="{BB962C8B-B14F-4D97-AF65-F5344CB8AC3E}">
        <p14:creationId xmlns:p14="http://schemas.microsoft.com/office/powerpoint/2010/main" val="382178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TEXTO Y GRÁFICO 1 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 algn="ctr"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954" y="1289051"/>
            <a:ext cx="6182285" cy="4461492"/>
          </a:xfrm>
          <a:prstGeom prst="rect">
            <a:avLst/>
          </a:prstGeom>
        </p:spPr>
        <p:txBody>
          <a:bodyPr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.</a:t>
            </a:r>
          </a:p>
        </p:txBody>
      </p:sp>
      <p:sp>
        <p:nvSpPr>
          <p:cNvPr id="8" name="Marcador de gráfico 7">
            <a:extLst>
              <a:ext uri="{FF2B5EF4-FFF2-40B4-BE49-F238E27FC236}">
                <a16:creationId xmlns:a16="http://schemas.microsoft.com/office/drawing/2014/main" id="{7CA88226-D9A0-4820-B39B-994FF73D4C55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496050" y="1289051"/>
            <a:ext cx="5376370" cy="45186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387CAA11-20EF-4E8F-8CE8-4FCDE8A26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5409" y="5943600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12pt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F619298E-B531-E84E-B757-0C2E74229B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766150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Página Arial Regular 25pt 1 línea</a:t>
            </a:r>
          </a:p>
        </p:txBody>
      </p:sp>
      <p:sp>
        <p:nvSpPr>
          <p:cNvPr id="15" name="Marcador de texto 9">
            <a:extLst>
              <a:ext uri="{FF2B5EF4-FFF2-40B4-BE49-F238E27FC236}">
                <a16:creationId xmlns:a16="http://schemas.microsoft.com/office/drawing/2014/main" id="{11459EE5-0D27-C34F-924B-E206EB8A61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2954" y="615660"/>
            <a:ext cx="10766150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F6B8264-F8B7-4AC5-B81E-C993CCEA8714}"/>
              </a:ext>
            </a:extLst>
          </p:cNvPr>
          <p:cNvSpPr/>
          <p:nvPr userDrawn="1"/>
        </p:nvSpPr>
        <p:spPr>
          <a:xfrm>
            <a:off x="11217898" y="0"/>
            <a:ext cx="974102" cy="1218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5738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ES_TEXTO Y GRÁFICO 2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 algn="ctr"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954" y="1628775"/>
            <a:ext cx="6182285" cy="3999529"/>
          </a:xfrm>
          <a:prstGeom prst="rect">
            <a:avLst/>
          </a:prstGeom>
        </p:spPr>
        <p:txBody>
          <a:bodyPr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.</a:t>
            </a:r>
          </a:p>
        </p:txBody>
      </p:sp>
      <p:sp>
        <p:nvSpPr>
          <p:cNvPr id="8" name="Marcador de gráfico 7">
            <a:extLst>
              <a:ext uri="{FF2B5EF4-FFF2-40B4-BE49-F238E27FC236}">
                <a16:creationId xmlns:a16="http://schemas.microsoft.com/office/drawing/2014/main" id="{7CA88226-D9A0-4820-B39B-994FF73D4C55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496050" y="1047750"/>
            <a:ext cx="5376370" cy="47599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387CAA11-20EF-4E8F-8CE8-4FCDE8A26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5409" y="5943600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12pt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EA69543D-FCA0-4045-9EA6-AF4FB4F37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683854" cy="8356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de página en 2 líneas,</a:t>
            </a:r>
            <a:br>
              <a:rPr lang="es-ES"/>
            </a:br>
            <a:r>
              <a:rPr lang="es-ES"/>
              <a:t>Arial Regular 25pt</a:t>
            </a:r>
          </a:p>
        </p:txBody>
      </p:sp>
      <p:sp>
        <p:nvSpPr>
          <p:cNvPr id="17" name="Marcador de texto 9">
            <a:extLst>
              <a:ext uri="{FF2B5EF4-FFF2-40B4-BE49-F238E27FC236}">
                <a16:creationId xmlns:a16="http://schemas.microsoft.com/office/drawing/2014/main" id="{B6D3A2FE-383B-ED48-90EF-4EE329BD5E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1029060"/>
            <a:ext cx="6182285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400907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 GRÁFICO 1 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 algn="ctr"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gráfico 7">
            <a:extLst>
              <a:ext uri="{FF2B5EF4-FFF2-40B4-BE49-F238E27FC236}">
                <a16:creationId xmlns:a16="http://schemas.microsoft.com/office/drawing/2014/main" id="{7CA88226-D9A0-4820-B39B-994FF73D4C55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096000" y="1289050"/>
            <a:ext cx="5668872" cy="496263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1" name="Marcador de gráfico 7">
            <a:extLst>
              <a:ext uri="{FF2B5EF4-FFF2-40B4-BE49-F238E27FC236}">
                <a16:creationId xmlns:a16="http://schemas.microsoft.com/office/drawing/2014/main" id="{5D6CFDF3-41B3-4F7A-BCEC-7F9763753518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441948" y="1289050"/>
            <a:ext cx="5654052" cy="496263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387CAA11-20EF-4E8F-8CE8-4FCDE8A26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1490" y="5943600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12pt</a:t>
            </a: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F05277F9-B34B-2A46-B08A-6D2D5B5CF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766150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Página Arial Regular 25pt 1 línea</a:t>
            </a:r>
          </a:p>
        </p:txBody>
      </p:sp>
      <p:sp>
        <p:nvSpPr>
          <p:cNvPr id="15" name="Marcador de texto 9">
            <a:extLst>
              <a:ext uri="{FF2B5EF4-FFF2-40B4-BE49-F238E27FC236}">
                <a16:creationId xmlns:a16="http://schemas.microsoft.com/office/drawing/2014/main" id="{3609CC2D-1C3D-F248-951E-47E86E9D8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2954" y="615660"/>
            <a:ext cx="10766150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88972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 GRÁFICO 2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 algn="ctr"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gráfico 7">
            <a:extLst>
              <a:ext uri="{FF2B5EF4-FFF2-40B4-BE49-F238E27FC236}">
                <a16:creationId xmlns:a16="http://schemas.microsoft.com/office/drawing/2014/main" id="{7CA88226-D9A0-4820-B39B-994FF73D4C55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096000" y="1639534"/>
            <a:ext cx="5654052" cy="417169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1" name="Marcador de gráfico 7">
            <a:extLst>
              <a:ext uri="{FF2B5EF4-FFF2-40B4-BE49-F238E27FC236}">
                <a16:creationId xmlns:a16="http://schemas.microsoft.com/office/drawing/2014/main" id="{5D6CFDF3-41B3-4F7A-BCEC-7F9763753518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441948" y="1639534"/>
            <a:ext cx="5639271" cy="417169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387CAA11-20EF-4E8F-8CE8-4FCDE8A26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1490" y="5943600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12pt</a:t>
            </a: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480EEE32-848C-514A-8B37-50B469233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683854" cy="8356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de página en 2 líneas,</a:t>
            </a:r>
            <a:br>
              <a:rPr lang="es-ES"/>
            </a:br>
            <a:r>
              <a:rPr lang="es-ES"/>
              <a:t>Arial Regular 25pt</a:t>
            </a:r>
          </a:p>
        </p:txBody>
      </p:sp>
      <p:sp>
        <p:nvSpPr>
          <p:cNvPr id="18" name="Marcador de texto 9">
            <a:extLst>
              <a:ext uri="{FF2B5EF4-FFF2-40B4-BE49-F238E27FC236}">
                <a16:creationId xmlns:a16="http://schemas.microsoft.com/office/drawing/2014/main" id="{2E2CFA43-F815-F24A-929A-3DBC3AE596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1029059"/>
            <a:ext cx="10683854" cy="5997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286306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TEXTO Y VIDEO 1 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954" y="1298011"/>
            <a:ext cx="3553385" cy="4280925"/>
          </a:xfrm>
          <a:prstGeom prst="rect">
            <a:avLst/>
          </a:prstGeom>
        </p:spPr>
        <p:txBody>
          <a:bodyPr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.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8F4E789E-BB25-4707-99DA-570891E2C51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56584" y="1298010"/>
            <a:ext cx="7473861" cy="428026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s-ES"/>
              <a:t>INSERTAR OBJETO</a:t>
            </a:r>
          </a:p>
        </p:txBody>
      </p:sp>
      <p:sp>
        <p:nvSpPr>
          <p:cNvPr id="10" name="Marcador de texto 13">
            <a:extLst>
              <a:ext uri="{FF2B5EF4-FFF2-40B4-BE49-F238E27FC236}">
                <a16:creationId xmlns:a16="http://schemas.microsoft.com/office/drawing/2014/main" id="{F5DE2420-ABDC-3D42-8926-C3671C66F7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5684" y="5943600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12pt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BCC1493C-4A34-9142-A0B8-45A0EF83A5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864944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Página Arial Regular 25pt 1 línea</a:t>
            </a:r>
          </a:p>
        </p:txBody>
      </p:sp>
      <p:sp>
        <p:nvSpPr>
          <p:cNvPr id="17" name="Marcador de texto 9">
            <a:extLst>
              <a:ext uri="{FF2B5EF4-FFF2-40B4-BE49-F238E27FC236}">
                <a16:creationId xmlns:a16="http://schemas.microsoft.com/office/drawing/2014/main" id="{A71F22BC-B6A7-AB43-85E0-B2B93FE3576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2954" y="615660"/>
            <a:ext cx="10864944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105511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TEXTO Y VIDEO 2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659035" cy="8356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de página en 2 líneas,</a:t>
            </a:r>
            <a:br>
              <a:rPr lang="es-ES"/>
            </a:br>
            <a:r>
              <a:rPr lang="es-ES"/>
              <a:t>Arial Regular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2" name="Marcador de texto 9">
            <a:extLst>
              <a:ext uri="{FF2B5EF4-FFF2-40B4-BE49-F238E27FC236}">
                <a16:creationId xmlns:a16="http://schemas.microsoft.com/office/drawing/2014/main" id="{D242A865-AD12-49B9-9E03-5395F7325A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1029060"/>
            <a:ext cx="10659035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954" y="1628775"/>
            <a:ext cx="3553385" cy="3999529"/>
          </a:xfrm>
          <a:prstGeom prst="rect">
            <a:avLst/>
          </a:prstGeom>
        </p:spPr>
        <p:txBody>
          <a:bodyPr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.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8F4E789E-BB25-4707-99DA-570891E2C51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56584" y="1628775"/>
            <a:ext cx="7473861" cy="39989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s-ES"/>
              <a:t>INSERTAR OBJETO</a:t>
            </a:r>
          </a:p>
        </p:txBody>
      </p:sp>
      <p:sp>
        <p:nvSpPr>
          <p:cNvPr id="10" name="Marcador de texto 13">
            <a:extLst>
              <a:ext uri="{FF2B5EF4-FFF2-40B4-BE49-F238E27FC236}">
                <a16:creationId xmlns:a16="http://schemas.microsoft.com/office/drawing/2014/main" id="{F5DE2420-ABDC-3D42-8926-C3671C66F7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5684" y="5943600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12pt</a:t>
            </a:r>
          </a:p>
        </p:txBody>
      </p:sp>
    </p:spTree>
    <p:extLst>
      <p:ext uri="{BB962C8B-B14F-4D97-AF65-F5344CB8AC3E}">
        <p14:creationId xmlns:p14="http://schemas.microsoft.com/office/powerpoint/2010/main" val="27571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_2 Línea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posición de imagen 11">
            <a:extLst>
              <a:ext uri="{FF2B5EF4-FFF2-40B4-BE49-F238E27FC236}">
                <a16:creationId xmlns:a16="http://schemas.microsoft.com/office/drawing/2014/main" id="{2FECD3F3-345C-450A-9800-1FB6EABA45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8DA6BB90-57DC-4BBF-B255-47F33835CD5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4" name="Marcador de posición de imagen 13">
            <a:extLst>
              <a:ext uri="{FF2B5EF4-FFF2-40B4-BE49-F238E27FC236}">
                <a16:creationId xmlns:a16="http://schemas.microsoft.com/office/drawing/2014/main" id="{F7ACE271-1C46-4368-8E95-AA232CBB1B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860472"/>
            <a:ext cx="1801091" cy="69272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s-ES"/>
              <a:t>INSERTAR LOGOTIPO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39A99ED-F51D-4F3D-B241-7853539ABC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19811" y="1602950"/>
            <a:ext cx="4453039" cy="1146296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ítulo de portada </a:t>
            </a:r>
            <a:br>
              <a:rPr lang="es-ES"/>
            </a:br>
            <a:r>
              <a:rPr lang="es-ES"/>
              <a:t>2 líneas 40pt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F4CFAF-8F9D-4261-A107-1FA86C4C11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19811" y="2826134"/>
            <a:ext cx="4453039" cy="550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Subtítulo de portada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5DCB46-A1F0-4AC9-B89C-365FC24E5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1D43D0-EABC-463C-AC2F-7AA45C429E31}" type="datetime4">
              <a:rPr lang="es-ES" smtClean="0"/>
              <a:pPr/>
              <a:t>10 de marzo de 202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9036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ES_TABLA_1 lín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 algn="ctr"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387CAA11-20EF-4E8F-8CE8-4FCDE8A26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5684" y="5943600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12pt</a:t>
            </a:r>
          </a:p>
        </p:txBody>
      </p:sp>
      <p:sp>
        <p:nvSpPr>
          <p:cNvPr id="7" name="Marcador de tabla 6">
            <a:extLst>
              <a:ext uri="{FF2B5EF4-FFF2-40B4-BE49-F238E27FC236}">
                <a16:creationId xmlns:a16="http://schemas.microsoft.com/office/drawing/2014/main" id="{E9B4B3D7-819D-4215-8449-94810130CD23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407988" y="1289050"/>
            <a:ext cx="11346951" cy="4349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B841B371-B340-6043-A9B2-4FB5CDC36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864944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Página Arial Regular 25pt 1 línea</a:t>
            </a:r>
          </a:p>
        </p:txBody>
      </p:sp>
      <p:sp>
        <p:nvSpPr>
          <p:cNvPr id="13" name="Marcador de texto 9">
            <a:extLst>
              <a:ext uri="{FF2B5EF4-FFF2-40B4-BE49-F238E27FC236}">
                <a16:creationId xmlns:a16="http://schemas.microsoft.com/office/drawing/2014/main" id="{329BD079-1FA1-D041-B668-1A76321C8A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2954" y="615660"/>
            <a:ext cx="10864944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155041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ES_TABLA_2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6400" y="6410942"/>
            <a:ext cx="4114800" cy="365125"/>
          </a:xfrm>
        </p:spPr>
        <p:txBody>
          <a:bodyPr/>
          <a:lstStyle>
            <a:lvl1pPr algn="ctr"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387CAA11-20EF-4E8F-8CE8-4FCDE8A26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5684" y="5943600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 err="1"/>
              <a:t>Source</a:t>
            </a:r>
            <a:r>
              <a:rPr lang="es-ES"/>
              <a:t> o firma 12pt</a:t>
            </a:r>
          </a:p>
        </p:txBody>
      </p:sp>
      <p:sp>
        <p:nvSpPr>
          <p:cNvPr id="7" name="Marcador de tabla 6">
            <a:extLst>
              <a:ext uri="{FF2B5EF4-FFF2-40B4-BE49-F238E27FC236}">
                <a16:creationId xmlns:a16="http://schemas.microsoft.com/office/drawing/2014/main" id="{E9B4B3D7-819D-4215-8449-94810130CD23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407988" y="1628775"/>
            <a:ext cx="11346951" cy="4010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B9DF9EDA-7125-4C4A-8397-1B499C4C77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683854" cy="8356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de página en 2 líneas,</a:t>
            </a:r>
            <a:br>
              <a:rPr lang="es-ES"/>
            </a:br>
            <a:r>
              <a:rPr lang="es-ES"/>
              <a:t>Arial Regular 25pt</a:t>
            </a:r>
          </a:p>
        </p:txBody>
      </p:sp>
      <p:sp>
        <p:nvSpPr>
          <p:cNvPr id="16" name="Marcador de texto 9">
            <a:extLst>
              <a:ext uri="{FF2B5EF4-FFF2-40B4-BE49-F238E27FC236}">
                <a16:creationId xmlns:a16="http://schemas.microsoft.com/office/drawing/2014/main" id="{8B88A19C-91C5-8345-B69F-DE5048C2D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1029060"/>
            <a:ext cx="6182285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e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297448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387CAA11-20EF-4E8F-8CE8-4FCDE8A26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56542" y="6366682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accent2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aenor.com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106F9DA-887C-4DBE-BF54-ADABAC442F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519" y="3015777"/>
            <a:ext cx="3876675" cy="13239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48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Gracias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039FF83-E850-479D-A44C-6442073A6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8985" y="4613565"/>
            <a:ext cx="3751210" cy="1954213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r>
              <a:rPr lang="en-GB" err="1"/>
              <a:t>Nombre</a:t>
            </a:r>
            <a:r>
              <a:rPr lang="en-GB"/>
              <a:t> </a:t>
            </a:r>
            <a:r>
              <a:rPr lang="en-GB" err="1"/>
              <a:t>Apellidos</a:t>
            </a:r>
            <a:endParaRPr lang="en-GB"/>
          </a:p>
          <a:p>
            <a:pPr marL="0" lvl="1"/>
            <a:r>
              <a:rPr lang="en-GB"/>
              <a:t>Cargo</a:t>
            </a:r>
          </a:p>
          <a:p>
            <a:pPr marL="0" lvl="1"/>
            <a:r>
              <a:rPr lang="en-GB"/>
              <a:t>T: +00 000 000 0000</a:t>
            </a:r>
          </a:p>
          <a:p>
            <a:pPr marL="0" lvl="1"/>
            <a:r>
              <a:rPr lang="en-GB"/>
              <a:t>M: +00 0000 000 000</a:t>
            </a:r>
          </a:p>
          <a:p>
            <a:pPr marL="0" lvl="1"/>
            <a:r>
              <a:rPr lang="en-GB"/>
              <a:t>E: </a:t>
            </a:r>
            <a:r>
              <a:rPr lang="en-GB" err="1"/>
              <a:t>nombre.apellido@aenor.com</a:t>
            </a:r>
            <a:endParaRPr lang="en-GB"/>
          </a:p>
          <a:p>
            <a:pPr marL="0" lvl="1"/>
            <a:endParaRPr lang="en-GB"/>
          </a:p>
          <a:p>
            <a:pPr marL="0" lvl="1"/>
            <a:r>
              <a:rPr lang="en-GB" err="1"/>
              <a:t>Aenor</a:t>
            </a:r>
            <a:endParaRPr lang="en-GB"/>
          </a:p>
          <a:p>
            <a:pPr marL="0" lvl="1"/>
            <a:r>
              <a:rPr lang="en-GB" err="1"/>
              <a:t>Dirección</a:t>
            </a:r>
            <a:r>
              <a:rPr lang="en-GB"/>
              <a:t> </a:t>
            </a:r>
            <a:r>
              <a:rPr lang="en-GB" err="1"/>
              <a:t>Oficin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924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387CAA11-20EF-4E8F-8CE8-4FCDE8A26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56542" y="6366682"/>
            <a:ext cx="2400300" cy="36512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</a:defRPr>
            </a:lvl1pPr>
            <a:lvl2pPr marL="457200" indent="0">
              <a:buNone/>
              <a:defRPr sz="1200" i="1">
                <a:solidFill>
                  <a:schemeClr val="accent1"/>
                </a:solidFill>
              </a:defRPr>
            </a:lvl2pPr>
            <a:lvl3pPr marL="914400" indent="0">
              <a:buNone/>
              <a:defRPr sz="1200" i="1">
                <a:solidFill>
                  <a:schemeClr val="accent1"/>
                </a:solidFill>
              </a:defRPr>
            </a:lvl3pPr>
            <a:lvl4pPr marL="1371600" indent="0">
              <a:buNone/>
              <a:defRPr sz="1200" i="1">
                <a:solidFill>
                  <a:schemeClr val="accent1"/>
                </a:solidFill>
              </a:defRPr>
            </a:lvl4pPr>
            <a:lvl5pPr marL="1828800" indent="0">
              <a:buNone/>
              <a:defRPr sz="12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aenor.com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106F9DA-887C-4DBE-BF54-ADABAC442F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519" y="3015777"/>
            <a:ext cx="3876675" cy="13239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48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Gracias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039FF83-E850-479D-A44C-6442073A6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8985" y="4613565"/>
            <a:ext cx="3751210" cy="1954213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200">
                <a:solidFill>
                  <a:schemeClr val="tx2"/>
                </a:solidFill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r>
              <a:rPr lang="en-GB" err="1"/>
              <a:t>Nombre</a:t>
            </a:r>
            <a:r>
              <a:rPr lang="en-GB"/>
              <a:t> </a:t>
            </a:r>
            <a:r>
              <a:rPr lang="en-GB" err="1"/>
              <a:t>Apellidos</a:t>
            </a:r>
            <a:endParaRPr lang="en-GB"/>
          </a:p>
          <a:p>
            <a:pPr marL="0" lvl="1"/>
            <a:r>
              <a:rPr lang="en-GB"/>
              <a:t>Cargo</a:t>
            </a:r>
          </a:p>
          <a:p>
            <a:pPr marL="0" lvl="1"/>
            <a:r>
              <a:rPr lang="en-GB"/>
              <a:t>T: +00 000 000 0000</a:t>
            </a:r>
          </a:p>
          <a:p>
            <a:pPr marL="0" lvl="1"/>
            <a:r>
              <a:rPr lang="en-GB"/>
              <a:t>M: +00 0000 000 000</a:t>
            </a:r>
          </a:p>
          <a:p>
            <a:pPr marL="0" lvl="1"/>
            <a:r>
              <a:rPr lang="en-GB"/>
              <a:t>E: </a:t>
            </a:r>
            <a:r>
              <a:rPr lang="en-GB" err="1"/>
              <a:t>nombre.apellido@aenor.com</a:t>
            </a:r>
            <a:endParaRPr lang="en-GB"/>
          </a:p>
          <a:p>
            <a:pPr marL="0" lvl="1"/>
            <a:endParaRPr lang="en-GB"/>
          </a:p>
          <a:p>
            <a:pPr marL="0" lvl="1"/>
            <a:r>
              <a:rPr lang="en-GB" err="1"/>
              <a:t>Aenor</a:t>
            </a:r>
            <a:endParaRPr lang="en-GB"/>
          </a:p>
          <a:p>
            <a:pPr marL="0" lvl="1"/>
            <a:r>
              <a:rPr lang="en-GB" err="1"/>
              <a:t>Dirección</a:t>
            </a:r>
            <a:r>
              <a:rPr lang="en-GB"/>
              <a:t> </a:t>
            </a:r>
            <a:r>
              <a:rPr lang="en-GB" err="1"/>
              <a:t>Oficin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705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ILL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>
            <a:extLst>
              <a:ext uri="{FF2B5EF4-FFF2-40B4-BE49-F238E27FC236}">
                <a16:creationId xmlns:a16="http://schemas.microsoft.com/office/drawing/2014/main" id="{AA443F9F-C64A-44A9-A3D3-46587920AE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8" y="857"/>
            <a:ext cx="12186582" cy="6856284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246" y="2534652"/>
            <a:ext cx="5447415" cy="1084847"/>
          </a:xfrm>
          <a:prstGeom prst="rect">
            <a:avLst/>
          </a:prstGeom>
        </p:spPr>
        <p:txBody>
          <a:bodyPr/>
          <a:lstStyle>
            <a:lvl1pPr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en 1 o 2 líneas en Arial Regular 40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54F049B-E23F-4974-A7E5-1CB1CD6A0D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149" y="2247900"/>
            <a:ext cx="1371601" cy="1371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 i="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0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D275200-6618-452C-9565-A66E8E227B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2950" y="3695700"/>
            <a:ext cx="5446713" cy="590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Subtitular de sección 25pt</a:t>
            </a:r>
          </a:p>
        </p:txBody>
      </p:sp>
    </p:spTree>
    <p:extLst>
      <p:ext uri="{BB962C8B-B14F-4D97-AF65-F5344CB8AC3E}">
        <p14:creationId xmlns:p14="http://schemas.microsoft.com/office/powerpoint/2010/main" val="3267005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ES_2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2A5B6D5D-15B7-4D90-BB28-1639CBB25A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8" y="857"/>
            <a:ext cx="12186582" cy="685628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954" y="193385"/>
            <a:ext cx="1051560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índice de Contenido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rgbClr val="3C3C3B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3C3C3B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rgbClr val="3C3C3B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2" name="Marcador de texto 9">
            <a:extLst>
              <a:ext uri="{FF2B5EF4-FFF2-40B4-BE49-F238E27FC236}">
                <a16:creationId xmlns:a16="http://schemas.microsoft.com/office/drawing/2014/main" id="{D242A865-AD12-49B9-9E03-5395F7325A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54" y="615660"/>
            <a:ext cx="10515600" cy="603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"/>
              <a:t>Descripción en Arial Regular 18pt</a:t>
            </a:r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96013CDC-4065-44A2-99BB-945B9E2CAF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514" y="1752600"/>
            <a:ext cx="2562225" cy="11239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s-ES"/>
              <a:t>Título de párrafo en 1 o más líneas en Arial Bold 18pt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378D736F-19AE-4A6A-9035-74C6756E2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5299" y="1751013"/>
            <a:ext cx="8318499" cy="3999529"/>
          </a:xfrm>
          <a:prstGeom prst="rect">
            <a:avLst/>
          </a:prstGeom>
        </p:spPr>
        <p:txBody>
          <a:bodyPr numCol="2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C3C3B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400">
                <a:solidFill>
                  <a:srgbClr val="3C3C3B"/>
                </a:solidFill>
              </a:defRPr>
            </a:lvl5pPr>
          </a:lstStyle>
          <a:p>
            <a:pPr lvl="0"/>
            <a:r>
              <a:rPr lang="es-ES"/>
              <a:t>Texto en Arial 14pt en dos columnas</a:t>
            </a:r>
          </a:p>
        </p:txBody>
      </p:sp>
    </p:spTree>
    <p:extLst>
      <p:ext uri="{BB962C8B-B14F-4D97-AF65-F5344CB8AC3E}">
        <p14:creationId xmlns:p14="http://schemas.microsoft.com/office/powerpoint/2010/main" val="139893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ÍNDIC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>
            <a:extLst>
              <a:ext uri="{FF2B5EF4-FFF2-40B4-BE49-F238E27FC236}">
                <a16:creationId xmlns:a16="http://schemas.microsoft.com/office/drawing/2014/main" id="{AA443F9F-C64A-44A9-A3D3-46587920AE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8" y="857"/>
            <a:ext cx="12186583" cy="6856285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:a16="http://schemas.microsoft.com/office/drawing/2014/main" id="{259B3DE8-E02C-419E-B197-488125E9705C}"/>
              </a:ext>
            </a:extLst>
          </p:cNvPr>
          <p:cNvGrpSpPr/>
          <p:nvPr userDrawn="1"/>
        </p:nvGrpSpPr>
        <p:grpSpPr>
          <a:xfrm>
            <a:off x="407194" y="6374606"/>
            <a:ext cx="1228725" cy="290009"/>
            <a:chOff x="407194" y="6374606"/>
            <a:chExt cx="1228725" cy="290009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30A96E8A-B3C1-4522-BB72-C0AFA4340FC5}"/>
                </a:ext>
              </a:extLst>
            </p:cNvPr>
            <p:cNvSpPr/>
            <p:nvPr userDrawn="1"/>
          </p:nvSpPr>
          <p:spPr>
            <a:xfrm>
              <a:off x="407194" y="6374606"/>
              <a:ext cx="1228725" cy="2900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8" name="Gráfico 7">
              <a:extLst>
                <a:ext uri="{FF2B5EF4-FFF2-40B4-BE49-F238E27FC236}">
                  <a16:creationId xmlns:a16="http://schemas.microsoft.com/office/drawing/2014/main" id="{C84DDE94-7FFD-4C7C-93DA-5929621BDA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0202" y="6409174"/>
              <a:ext cx="1160476" cy="237861"/>
            </a:xfrm>
            <a:prstGeom prst="rect">
              <a:avLst/>
            </a:prstGeom>
          </p:spPr>
        </p:pic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765" y="193385"/>
            <a:ext cx="10515600" cy="66722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índice de Contenido 25pt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BA7D93E-1F1E-44B1-9DBF-04F503BCC6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265055"/>
            <a:ext cx="4645097" cy="11030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tabLst/>
              <a:defRPr sz="1200" b="0">
                <a:solidFill>
                  <a:schemeClr val="accent3"/>
                </a:solidFill>
              </a:defRPr>
            </a:lvl1pPr>
            <a:lvl2pPr marL="363538" indent="-17621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500">
                <a:solidFill>
                  <a:schemeClr val="accent3"/>
                </a:solidFill>
              </a:defRPr>
            </a:lvl2pPr>
            <a:lvl3pPr marL="561975" indent="-1746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▫"/>
              <a:tabLst/>
              <a:defRPr sz="1000" i="1">
                <a:solidFill>
                  <a:schemeClr val="bg1"/>
                </a:solidFill>
              </a:defRPr>
            </a:lvl3pPr>
            <a:lvl4pPr marL="1600200" indent="-228600">
              <a:buClr>
                <a:schemeClr val="bg1"/>
              </a:buClr>
              <a:buFont typeface="Arial" panose="020B0604020202020204" pitchFamily="34" charset="0"/>
              <a:buChar char="▫"/>
              <a:defRPr sz="1000" i="1">
                <a:solidFill>
                  <a:schemeClr val="bg1"/>
                </a:solidFill>
              </a:defRPr>
            </a:lvl4pPr>
            <a:lvl5pPr marL="2057400" indent="-228600">
              <a:buClr>
                <a:schemeClr val="bg1"/>
              </a:buClr>
              <a:buFont typeface="Arial" panose="020B0604020202020204" pitchFamily="34" charset="0"/>
              <a:buChar char="▫"/>
              <a:defRPr sz="1000" i="1">
                <a:solidFill>
                  <a:schemeClr val="bg1"/>
                </a:solidFill>
              </a:defRPr>
            </a:lvl5pPr>
          </a:lstStyle>
          <a:p>
            <a:pPr lvl="0"/>
            <a:endParaRPr lang="es-ES"/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0E4198DD-74B2-4081-A053-194DD9D68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4" name="Marcador de número de diapositiva 13">
            <a:extLst>
              <a:ext uri="{FF2B5EF4-FFF2-40B4-BE49-F238E27FC236}">
                <a16:creationId xmlns:a16="http://schemas.microsoft.com/office/drawing/2014/main" id="{6D7CC57A-57D3-4F53-9E57-76240B2EF0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710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0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1934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7CC30F67-A229-62DC-8A9E-D6E52AEFA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7A44C-2065-458B-88A2-C78864338C01}" type="datetimeFigureOut">
              <a:rPr lang="es-MX" smtClean="0"/>
              <a:t>10/03/2026</a:t>
            </a:fld>
            <a:endParaRPr lang="es-MX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11F6666-25E5-6825-40EB-0FFE37CCC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1C00E6A-C0B7-7AD1-0E98-AABE1589F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3FE14-3D9C-4274-B68C-4D5434CC7F9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6935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0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717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_3 Línea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posición de imagen 11">
            <a:extLst>
              <a:ext uri="{FF2B5EF4-FFF2-40B4-BE49-F238E27FC236}">
                <a16:creationId xmlns:a16="http://schemas.microsoft.com/office/drawing/2014/main" id="{2FECD3F3-345C-450A-9800-1FB6EABA45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8DA6BB90-57DC-4BBF-B255-47F33835CD5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14" name="Marcador de posición de imagen 13">
            <a:extLst>
              <a:ext uri="{FF2B5EF4-FFF2-40B4-BE49-F238E27FC236}">
                <a16:creationId xmlns:a16="http://schemas.microsoft.com/office/drawing/2014/main" id="{F7ACE271-1C46-4368-8E95-AA232CBB1B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860472"/>
            <a:ext cx="1801091" cy="69272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s-ES"/>
              <a:t>INSERTAR LOGOTIPO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39A99ED-F51D-4F3D-B241-7853539ABC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19811" y="1602288"/>
            <a:ext cx="4453039" cy="1752115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ítulo de portada </a:t>
            </a:r>
            <a:br>
              <a:rPr lang="es-ES"/>
            </a:br>
            <a:r>
              <a:rPr lang="es-ES"/>
              <a:t>3 líneas Arial 40pt</a:t>
            </a:r>
            <a:br>
              <a:rPr lang="es-ES"/>
            </a:br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endParaRPr lang="es-E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F4CFAF-8F9D-4261-A107-1FA86C4C11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19811" y="3354403"/>
            <a:ext cx="4453039" cy="90337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Subtítulo de portada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5DCB46-A1F0-4AC9-B89C-365FC24E5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1D43D0-EABC-463C-AC2F-7AA45C429E31}" type="datetime4">
              <a:rPr lang="es-ES" smtClean="0"/>
              <a:pPr/>
              <a:t>10 de marzo de 202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5810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7CC30F67-A229-62DC-8A9E-D6E52AEFA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7A44C-2065-458B-88A2-C78864338C01}" type="datetimeFigureOut">
              <a:rPr lang="es-MX" smtClean="0"/>
              <a:t>10/03/2026</a:t>
            </a:fld>
            <a:endParaRPr lang="es-MX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11F6666-25E5-6825-40EB-0FFE37CCC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1C00E6A-C0B7-7AD1-0E98-AABE1589F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3FE14-3D9C-4274-B68C-4D5434CC7F9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3959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_1 Líne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8DA6BB90-57DC-4BBF-B255-47F33835CD5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39A99ED-F51D-4F3D-B241-7853539ABC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0916" y="2021305"/>
            <a:ext cx="8244113" cy="62603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42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es-ES"/>
              <a:t>Título de portada 1 línea 40pt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F4CFAF-8F9D-4261-A107-1FA86C4C11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0916" y="2647342"/>
            <a:ext cx="8244113" cy="580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Subtítulo de portada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5DCB46-A1F0-4AC9-B89C-365FC24E5C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95096" y="6300102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D1D43D0-EABC-463C-AC2F-7AA45C429E31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15" name="Marcador de posición de imagen 14">
            <a:extLst>
              <a:ext uri="{FF2B5EF4-FFF2-40B4-BE49-F238E27FC236}">
                <a16:creationId xmlns:a16="http://schemas.microsoft.com/office/drawing/2014/main" id="{37E00501-324E-4F70-8061-AE171698E7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06788" y="436563"/>
            <a:ext cx="1828800" cy="6826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/>
            </a:lvl1pPr>
          </a:lstStyle>
          <a:p>
            <a:r>
              <a:rPr lang="es-ES"/>
              <a:t>INSERTAR LOGOTIPO</a:t>
            </a:r>
          </a:p>
        </p:txBody>
      </p:sp>
      <p:sp>
        <p:nvSpPr>
          <p:cNvPr id="17" name="Marcador de posición de imagen 16">
            <a:extLst>
              <a:ext uri="{FF2B5EF4-FFF2-40B4-BE49-F238E27FC236}">
                <a16:creationId xmlns:a16="http://schemas.microsoft.com/office/drawing/2014/main" id="{F51772EF-BAA6-4701-92E5-ED734B9FCA0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90500" y="0"/>
            <a:ext cx="2716213" cy="13652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s-ES"/>
              <a:t>INSERTAR LOGOTIPO AERNOR</a:t>
            </a:r>
          </a:p>
        </p:txBody>
      </p:sp>
    </p:spTree>
    <p:extLst>
      <p:ext uri="{BB962C8B-B14F-4D97-AF65-F5344CB8AC3E}">
        <p14:creationId xmlns:p14="http://schemas.microsoft.com/office/powerpoint/2010/main" val="6778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_2 Línea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8DA6BB90-57DC-4BBF-B255-47F33835CD5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39A99ED-F51D-4F3D-B241-7853539ABC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0916" y="1807288"/>
            <a:ext cx="8244113" cy="108624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4200"/>
              </a:lnSpc>
              <a:defRPr sz="36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de portada 2 líneas</a:t>
            </a:r>
            <a:br>
              <a:rPr lang="es-ES"/>
            </a:br>
            <a:r>
              <a:rPr lang="es-ES"/>
              <a:t>Arial Regular 36pt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F4CFAF-8F9D-4261-A107-1FA86C4C11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0916" y="2893535"/>
            <a:ext cx="8244113" cy="33448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Subtítulos de portada 21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5DCB46-A1F0-4AC9-B89C-365FC24E5C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95096" y="6300102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D1D43D0-EABC-463C-AC2F-7AA45C429E31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15" name="Marcador de posición de imagen 14">
            <a:extLst>
              <a:ext uri="{FF2B5EF4-FFF2-40B4-BE49-F238E27FC236}">
                <a16:creationId xmlns:a16="http://schemas.microsoft.com/office/drawing/2014/main" id="{37E00501-324E-4F70-8061-AE171698E7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06788" y="436563"/>
            <a:ext cx="1828800" cy="6826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s-ES"/>
              <a:t>INSERTAR LOGOTIPO</a:t>
            </a:r>
          </a:p>
        </p:txBody>
      </p:sp>
      <p:sp>
        <p:nvSpPr>
          <p:cNvPr id="17" name="Marcador de posición de imagen 16">
            <a:extLst>
              <a:ext uri="{FF2B5EF4-FFF2-40B4-BE49-F238E27FC236}">
                <a16:creationId xmlns:a16="http://schemas.microsoft.com/office/drawing/2014/main" id="{F51772EF-BAA6-4701-92E5-ED734B9FCA0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90500" y="0"/>
            <a:ext cx="2716213" cy="13652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s-ES"/>
              <a:t>INSERTAR LOGOTIPO AERNOR</a:t>
            </a:r>
          </a:p>
        </p:txBody>
      </p:sp>
    </p:spTree>
    <p:extLst>
      <p:ext uri="{BB962C8B-B14F-4D97-AF65-F5344CB8AC3E}">
        <p14:creationId xmlns:p14="http://schemas.microsoft.com/office/powerpoint/2010/main" val="119251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765" y="193385"/>
            <a:ext cx="10515600" cy="66722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índice de Contenido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9600" y="6410942"/>
            <a:ext cx="41148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8CB613E2-D68A-8C44-ACDC-C0173BE375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180" y="1264204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bg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93E7D009-EE44-0F48-9D6E-FAD733FBB1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1501" y="1264204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bg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912DC38F-4083-6A4E-8574-6ECFCD424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9180" y="2296299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bg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6D239C9B-7F46-B448-B2B0-A37788764A7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1501" y="2296299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bg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C3C58A49-9868-A846-8CA4-B76ECC22B2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9180" y="3328394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bg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8" name="Marcador de texto 12">
            <a:extLst>
              <a:ext uri="{FF2B5EF4-FFF2-40B4-BE49-F238E27FC236}">
                <a16:creationId xmlns:a16="http://schemas.microsoft.com/office/drawing/2014/main" id="{A2BB095E-844A-F74B-B54C-82449B32989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1501" y="3328394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bg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9" name="Marcador de texto 12">
            <a:extLst>
              <a:ext uri="{FF2B5EF4-FFF2-40B4-BE49-F238E27FC236}">
                <a16:creationId xmlns:a16="http://schemas.microsoft.com/office/drawing/2014/main" id="{A83C5F68-F5CA-C94C-9F87-8E3FEF69CD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9180" y="4360489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bg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30" name="Marcador de texto 12">
            <a:extLst>
              <a:ext uri="{FF2B5EF4-FFF2-40B4-BE49-F238E27FC236}">
                <a16:creationId xmlns:a16="http://schemas.microsoft.com/office/drawing/2014/main" id="{3FCCDD32-EAAE-F345-820F-04CA5F3D47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1501" y="4360489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bg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</p:spTree>
    <p:extLst>
      <p:ext uri="{BB962C8B-B14F-4D97-AF65-F5344CB8AC3E}">
        <p14:creationId xmlns:p14="http://schemas.microsoft.com/office/powerpoint/2010/main" val="834120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ÍNDIC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765" y="193385"/>
            <a:ext cx="10515600" cy="66722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índice de Contenido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9600" y="6410942"/>
            <a:ext cx="41148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8CB613E2-D68A-8C44-ACDC-C0173BE375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180" y="1264204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accent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accent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93E7D009-EE44-0F48-9D6E-FAD733FBB1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1501" y="1264204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accent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accent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912DC38F-4083-6A4E-8574-6ECFCD424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9180" y="2296299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accent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accent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6D239C9B-7F46-B448-B2B0-A37788764A7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1501" y="2296299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accent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accent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C3C58A49-9868-A846-8CA4-B76ECC22B2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9180" y="3328394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accent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accent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8" name="Marcador de texto 12">
            <a:extLst>
              <a:ext uri="{FF2B5EF4-FFF2-40B4-BE49-F238E27FC236}">
                <a16:creationId xmlns:a16="http://schemas.microsoft.com/office/drawing/2014/main" id="{A2BB095E-844A-F74B-B54C-82449B32989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1501" y="3328394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accent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accent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29" name="Marcador de texto 12">
            <a:extLst>
              <a:ext uri="{FF2B5EF4-FFF2-40B4-BE49-F238E27FC236}">
                <a16:creationId xmlns:a16="http://schemas.microsoft.com/office/drawing/2014/main" id="{A83C5F68-F5CA-C94C-9F87-8E3FEF69CD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9180" y="4360489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accent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accent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  <p:sp>
        <p:nvSpPr>
          <p:cNvPr id="30" name="Marcador de texto 12">
            <a:extLst>
              <a:ext uri="{FF2B5EF4-FFF2-40B4-BE49-F238E27FC236}">
                <a16:creationId xmlns:a16="http://schemas.microsoft.com/office/drawing/2014/main" id="{3FCCDD32-EAAE-F345-820F-04CA5F3D47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1501" y="4360489"/>
            <a:ext cx="5638800" cy="1021796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accent1"/>
                </a:solidFill>
              </a:defRPr>
            </a:lvl1pPr>
            <a:lvl2pPr marL="444500" indent="-1889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▪"/>
              <a:tabLst>
                <a:tab pos="5400000" algn="r"/>
              </a:tabLst>
              <a:defRPr sz="1500">
                <a:solidFill>
                  <a:schemeClr val="accent1"/>
                </a:solidFill>
              </a:defRPr>
            </a:lvl2pPr>
            <a:lvl3pPr marL="623888" indent="-17938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Font typeface=".Lucida Grande UI Regular"/>
              <a:buChar char="▫"/>
              <a:tabLst>
                <a:tab pos="5400000" algn="r"/>
              </a:tabLst>
              <a:defRPr sz="1000" i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s-ES"/>
              <a:t>Titular de nivel 1_Arial Bold 20pt</a:t>
            </a:r>
          </a:p>
          <a:p>
            <a:pPr lvl="1"/>
            <a:r>
              <a:rPr lang="es-ES"/>
              <a:t>Titular nivel 2_Arial </a:t>
            </a:r>
            <a:r>
              <a:rPr lang="es-ES" err="1"/>
              <a:t>Reg</a:t>
            </a:r>
            <a:r>
              <a:rPr lang="es-ES"/>
              <a:t> 15pt 	00</a:t>
            </a:r>
          </a:p>
          <a:p>
            <a:pPr lvl="2"/>
            <a:r>
              <a:rPr lang="es-ES"/>
              <a:t>Descripción nivel 3_Arial Italic 10pt	00</a:t>
            </a:r>
          </a:p>
        </p:txBody>
      </p:sp>
    </p:spTree>
    <p:extLst>
      <p:ext uri="{BB962C8B-B14F-4D97-AF65-F5344CB8AC3E}">
        <p14:creationId xmlns:p14="http://schemas.microsoft.com/office/powerpoint/2010/main" val="423281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ÍNDIC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EFAF59-B90B-4491-BF0D-CF1692465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765" y="193386"/>
            <a:ext cx="10515600" cy="56537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500">
                <a:solidFill>
                  <a:schemeClr val="bg2"/>
                </a:solidFill>
              </a:defRPr>
            </a:lvl1pPr>
          </a:lstStyle>
          <a:p>
            <a:r>
              <a:rPr lang="es-ES"/>
              <a:t>Titular índice de Contenido 25pt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E072DC-8E9E-4CD6-B38D-742BCF0E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4698" y="6410942"/>
            <a:ext cx="274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F7D65422-0A63-4FC1-A809-3E9709570CEC}" type="datetime4">
              <a:rPr lang="es-ES" smtClean="0"/>
              <a:pPr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F18D29-45A3-4975-B01E-1BF45FF0B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9600" y="6410942"/>
            <a:ext cx="41148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401CD0-1691-4C8C-9EA5-62314A0B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410942"/>
            <a:ext cx="518621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Marcador de posición de imagen 7">
            <a:extLst>
              <a:ext uri="{FF2B5EF4-FFF2-40B4-BE49-F238E27FC236}">
                <a16:creationId xmlns:a16="http://schemas.microsoft.com/office/drawing/2014/main" id="{B1F83DB1-3452-45C1-B208-A024182D53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849" y="818768"/>
            <a:ext cx="1742400" cy="17424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0" name="Marcador de posición de imagen 7">
            <a:extLst>
              <a:ext uri="{FF2B5EF4-FFF2-40B4-BE49-F238E27FC236}">
                <a16:creationId xmlns:a16="http://schemas.microsoft.com/office/drawing/2014/main" id="{32B80F4C-99A8-459F-A6A8-665B85B7EF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40388" y="2561362"/>
            <a:ext cx="1742400" cy="17349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2" name="Marcador de posición de imagen 7">
            <a:extLst>
              <a:ext uri="{FF2B5EF4-FFF2-40B4-BE49-F238E27FC236}">
                <a16:creationId xmlns:a16="http://schemas.microsoft.com/office/drawing/2014/main" id="{F59FEF9D-955E-4865-900A-601ADCCF55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221375" y="803463"/>
            <a:ext cx="1742400" cy="174475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3" name="Marcador de posición de imagen 7">
            <a:extLst>
              <a:ext uri="{FF2B5EF4-FFF2-40B4-BE49-F238E27FC236}">
                <a16:creationId xmlns:a16="http://schemas.microsoft.com/office/drawing/2014/main" id="{3B1E63E8-D3BA-49D0-9E30-D46258231D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8941" y="4296335"/>
            <a:ext cx="1735241" cy="173130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5" name="Marcador de posición de imagen 7">
            <a:extLst>
              <a:ext uri="{FF2B5EF4-FFF2-40B4-BE49-F238E27FC236}">
                <a16:creationId xmlns:a16="http://schemas.microsoft.com/office/drawing/2014/main" id="{CB3F37FC-5ED7-734B-BA5E-F8B2FB2AAC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965577" y="2554941"/>
            <a:ext cx="1724586" cy="172794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14" name="Marcador de texto 12">
            <a:extLst>
              <a:ext uri="{FF2B5EF4-FFF2-40B4-BE49-F238E27FC236}">
                <a16:creationId xmlns:a16="http://schemas.microsoft.com/office/drawing/2014/main" id="{18169F29-0729-CE43-9112-C3399F10C4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45008" y="904873"/>
            <a:ext cx="3324999" cy="1021796"/>
          </a:xfrm>
          <a:prstGeom prst="rect">
            <a:avLst/>
          </a:prstGeom>
        </p:spPr>
        <p:txBody>
          <a:bodyPr lIns="72000" tIns="72000" rIns="72000" bIns="72000"/>
          <a:lstStyle>
            <a:lvl1pPr marL="7938" indent="-7938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355600" indent="-133350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.Lucida Grande UI Regular"/>
              <a:buChar char="▪"/>
              <a:tabLst/>
              <a:defRPr sz="1500">
                <a:solidFill>
                  <a:schemeClr val="bg1"/>
                </a:solidFill>
              </a:defRPr>
            </a:lvl2pPr>
            <a:lvl3pPr marL="533400" indent="-88900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.Lucida Grande UI Regular"/>
              <a:buChar char="▫"/>
              <a:tabLst/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nivel 1_20pt</a:t>
            </a:r>
          </a:p>
          <a:p>
            <a:pPr lvl="1"/>
            <a:r>
              <a:rPr lang="es-ES"/>
              <a:t>Titular nivel 2 15pt</a:t>
            </a:r>
          </a:p>
          <a:p>
            <a:pPr lvl="2"/>
            <a:r>
              <a:rPr lang="es-ES"/>
              <a:t>Descripción nivel 3_Arial Italic 10pt	</a:t>
            </a:r>
          </a:p>
        </p:txBody>
      </p:sp>
      <p:sp>
        <p:nvSpPr>
          <p:cNvPr id="22" name="Marcador de texto 21">
            <a:extLst>
              <a:ext uri="{FF2B5EF4-FFF2-40B4-BE49-F238E27FC236}">
                <a16:creationId xmlns:a16="http://schemas.microsoft.com/office/drawing/2014/main" id="{753C5E3F-1F2C-C743-8FCB-0E12206201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27134" y="2206207"/>
            <a:ext cx="442873" cy="2651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00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FF7D34C9-A3E3-A64C-898F-3DC89FA005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71851" y="904873"/>
            <a:ext cx="3324999" cy="1021796"/>
          </a:xfrm>
          <a:prstGeom prst="rect">
            <a:avLst/>
          </a:prstGeom>
        </p:spPr>
        <p:txBody>
          <a:bodyPr lIns="72000" tIns="72000" rIns="72000" bIns="72000"/>
          <a:lstStyle>
            <a:lvl1pPr marL="7938" indent="-7938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355600" indent="-133350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SzPct val="125000"/>
              <a:buFont typeface=".Lucida Grande UI Regular"/>
              <a:buChar char="▪"/>
              <a:tabLst/>
              <a:defRPr sz="1500">
                <a:solidFill>
                  <a:schemeClr val="bg1"/>
                </a:solidFill>
              </a:defRPr>
            </a:lvl2pPr>
            <a:lvl3pPr marL="533400" indent="-88900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/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nivel 1_20pt</a:t>
            </a:r>
          </a:p>
          <a:p>
            <a:pPr lvl="1"/>
            <a:r>
              <a:rPr lang="es-ES"/>
              <a:t>Titular nivel 2 15pt</a:t>
            </a:r>
          </a:p>
          <a:p>
            <a:pPr lvl="2"/>
            <a:r>
              <a:rPr lang="es-ES"/>
              <a:t>Descripción nivel 3_Arial Italic 10pt	</a:t>
            </a:r>
          </a:p>
        </p:txBody>
      </p:sp>
      <p:sp>
        <p:nvSpPr>
          <p:cNvPr id="25" name="Marcador de texto 21">
            <a:extLst>
              <a:ext uri="{FF2B5EF4-FFF2-40B4-BE49-F238E27FC236}">
                <a16:creationId xmlns:a16="http://schemas.microsoft.com/office/drawing/2014/main" id="{ED6E7BD3-9C5A-6A46-B1AB-2075C2970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53977" y="2206207"/>
            <a:ext cx="442873" cy="2651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00</a:t>
            </a:r>
          </a:p>
        </p:txBody>
      </p:sp>
      <p:sp>
        <p:nvSpPr>
          <p:cNvPr id="30" name="Marcador de texto 12">
            <a:extLst>
              <a:ext uri="{FF2B5EF4-FFF2-40B4-BE49-F238E27FC236}">
                <a16:creationId xmlns:a16="http://schemas.microsoft.com/office/drawing/2014/main" id="{52CB618D-9E40-EA47-856D-ECFB2AF544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89637" y="2645625"/>
            <a:ext cx="3324999" cy="1021796"/>
          </a:xfrm>
          <a:prstGeom prst="rect">
            <a:avLst/>
          </a:prstGeom>
        </p:spPr>
        <p:txBody>
          <a:bodyPr lIns="72000" tIns="72000" rIns="72000" bIns="72000"/>
          <a:lstStyle>
            <a:lvl1pPr marL="7938" indent="-7938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2"/>
                </a:solidFill>
              </a:defRPr>
            </a:lvl1pPr>
            <a:lvl2pPr marL="355600" indent="-13335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25000"/>
              <a:buFont typeface=".Lucida Grande UI Regular"/>
              <a:buChar char="▪"/>
              <a:tabLst/>
              <a:defRPr sz="1500">
                <a:solidFill>
                  <a:schemeClr val="bg2"/>
                </a:solidFill>
              </a:defRPr>
            </a:lvl2pPr>
            <a:lvl3pPr marL="533400" indent="-889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25000"/>
              <a:buFont typeface=".Lucida Grande UI Regular"/>
              <a:buChar char="▫"/>
              <a:tabLst/>
              <a:defRPr sz="1000" i="1">
                <a:solidFill>
                  <a:schemeClr val="bg2"/>
                </a:solidFill>
              </a:defRPr>
            </a:lvl3pPr>
          </a:lstStyle>
          <a:p>
            <a:pPr lvl="0"/>
            <a:r>
              <a:rPr lang="es-ES"/>
              <a:t>Titular nivel 1_20pt</a:t>
            </a:r>
          </a:p>
          <a:p>
            <a:pPr lvl="1"/>
            <a:r>
              <a:rPr lang="es-ES"/>
              <a:t>Titular nivel 2 15pt</a:t>
            </a:r>
          </a:p>
          <a:p>
            <a:pPr lvl="2"/>
            <a:r>
              <a:rPr lang="es-ES"/>
              <a:t>Descripción nivel 3_Arial Italic 10pt	</a:t>
            </a:r>
          </a:p>
        </p:txBody>
      </p:sp>
      <p:sp>
        <p:nvSpPr>
          <p:cNvPr id="31" name="Marcador de texto 21">
            <a:extLst>
              <a:ext uri="{FF2B5EF4-FFF2-40B4-BE49-F238E27FC236}">
                <a16:creationId xmlns:a16="http://schemas.microsoft.com/office/drawing/2014/main" id="{ECFAFC6C-A9C6-7145-AD40-273A134FC64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71763" y="3946959"/>
            <a:ext cx="442873" cy="2651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2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00</a:t>
            </a:r>
          </a:p>
        </p:txBody>
      </p:sp>
      <p:sp>
        <p:nvSpPr>
          <p:cNvPr id="32" name="Marcador de texto 12">
            <a:extLst>
              <a:ext uri="{FF2B5EF4-FFF2-40B4-BE49-F238E27FC236}">
                <a16:creationId xmlns:a16="http://schemas.microsoft.com/office/drawing/2014/main" id="{13BE5633-99E4-6540-A28E-6B9FED256E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07096" y="2645625"/>
            <a:ext cx="3324999" cy="1021796"/>
          </a:xfrm>
          <a:prstGeom prst="rect">
            <a:avLst/>
          </a:prstGeom>
        </p:spPr>
        <p:txBody>
          <a:bodyPr lIns="72000" tIns="72000" rIns="72000" bIns="72000"/>
          <a:lstStyle>
            <a:lvl1pPr marL="7938" indent="-7938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2"/>
                </a:solidFill>
              </a:defRPr>
            </a:lvl1pPr>
            <a:lvl2pPr marL="355600" indent="-13335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25000"/>
              <a:buFont typeface=".Lucida Grande UI Regular"/>
              <a:buChar char="▪"/>
              <a:tabLst/>
              <a:defRPr sz="1500">
                <a:solidFill>
                  <a:schemeClr val="bg2"/>
                </a:solidFill>
              </a:defRPr>
            </a:lvl2pPr>
            <a:lvl3pPr marL="533400" indent="-889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25000"/>
              <a:buFont typeface=".Lucida Grande UI Regular"/>
              <a:buChar char="▫"/>
              <a:tabLst/>
              <a:defRPr sz="1000" i="1">
                <a:solidFill>
                  <a:schemeClr val="bg2"/>
                </a:solidFill>
              </a:defRPr>
            </a:lvl3pPr>
          </a:lstStyle>
          <a:p>
            <a:pPr lvl="0"/>
            <a:r>
              <a:rPr lang="es-ES"/>
              <a:t>Titular nivel 1_20pt</a:t>
            </a:r>
          </a:p>
          <a:p>
            <a:pPr lvl="1"/>
            <a:r>
              <a:rPr lang="es-ES"/>
              <a:t>Titular nivel 2 15pt</a:t>
            </a:r>
          </a:p>
          <a:p>
            <a:pPr lvl="2"/>
            <a:r>
              <a:rPr lang="es-ES"/>
              <a:t>Descripción nivel 3_Arial Italic 10pt	</a:t>
            </a:r>
          </a:p>
        </p:txBody>
      </p:sp>
      <p:sp>
        <p:nvSpPr>
          <p:cNvPr id="33" name="Marcador de texto 21">
            <a:extLst>
              <a:ext uri="{FF2B5EF4-FFF2-40B4-BE49-F238E27FC236}">
                <a16:creationId xmlns:a16="http://schemas.microsoft.com/office/drawing/2014/main" id="{E5DBC268-B02F-EB47-9C5A-FC214A69D9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589222" y="3946959"/>
            <a:ext cx="442873" cy="2651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2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00</a:t>
            </a:r>
          </a:p>
        </p:txBody>
      </p:sp>
      <p:sp>
        <p:nvSpPr>
          <p:cNvPr id="34" name="Marcador de texto 12">
            <a:extLst>
              <a:ext uri="{FF2B5EF4-FFF2-40B4-BE49-F238E27FC236}">
                <a16:creationId xmlns:a16="http://schemas.microsoft.com/office/drawing/2014/main" id="{24443C67-9AEB-C34D-BFF9-348E8792A65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8084" y="4396188"/>
            <a:ext cx="3324999" cy="1021796"/>
          </a:xfrm>
          <a:prstGeom prst="rect">
            <a:avLst/>
          </a:prstGeom>
        </p:spPr>
        <p:txBody>
          <a:bodyPr lIns="72000" tIns="72000" rIns="72000" bIns="72000"/>
          <a:lstStyle>
            <a:lvl1pPr marL="7938" indent="-7938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355600" indent="-133350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SzPct val="125000"/>
              <a:buFont typeface=".Lucida Grande UI Regular"/>
              <a:buChar char="▪"/>
              <a:tabLst/>
              <a:defRPr sz="1500">
                <a:solidFill>
                  <a:schemeClr val="bg1"/>
                </a:solidFill>
              </a:defRPr>
            </a:lvl2pPr>
            <a:lvl3pPr marL="533400" indent="-88900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25000"/>
              <a:buFont typeface=".Lucida Grande UI Regular"/>
              <a:buChar char="▫"/>
              <a:tabLst/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nivel 1_20pt</a:t>
            </a:r>
          </a:p>
          <a:p>
            <a:pPr lvl="1"/>
            <a:r>
              <a:rPr lang="es-ES"/>
              <a:t>Titular nivel 2 15pt</a:t>
            </a:r>
          </a:p>
          <a:p>
            <a:pPr lvl="2"/>
            <a:r>
              <a:rPr lang="es-ES"/>
              <a:t>Descripción nivel 3_Arial Italic 10pt	</a:t>
            </a:r>
          </a:p>
        </p:txBody>
      </p:sp>
      <p:sp>
        <p:nvSpPr>
          <p:cNvPr id="35" name="Marcador de texto 21">
            <a:extLst>
              <a:ext uri="{FF2B5EF4-FFF2-40B4-BE49-F238E27FC236}">
                <a16:creationId xmlns:a16="http://schemas.microsoft.com/office/drawing/2014/main" id="{AC37869A-D1DA-B844-8E59-068D76FADF8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0210" y="5697522"/>
            <a:ext cx="442873" cy="2651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00</a:t>
            </a:r>
          </a:p>
        </p:txBody>
      </p:sp>
      <p:sp>
        <p:nvSpPr>
          <p:cNvPr id="36" name="Marcador de texto 12">
            <a:extLst>
              <a:ext uri="{FF2B5EF4-FFF2-40B4-BE49-F238E27FC236}">
                <a16:creationId xmlns:a16="http://schemas.microsoft.com/office/drawing/2014/main" id="{6FF2A908-D60E-7C4B-BD77-0D2F05F4EF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11901" y="4396188"/>
            <a:ext cx="3324999" cy="1021796"/>
          </a:xfrm>
          <a:prstGeom prst="rect">
            <a:avLst/>
          </a:prstGeom>
        </p:spPr>
        <p:txBody>
          <a:bodyPr lIns="72000" tIns="72000" rIns="72000" bIns="72000"/>
          <a:lstStyle>
            <a:lvl1pPr marL="7938" indent="-7938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2000" b="1">
                <a:solidFill>
                  <a:schemeClr val="bg1"/>
                </a:solidFill>
              </a:defRPr>
            </a:lvl1pPr>
            <a:lvl2pPr marL="355600" indent="-133350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.Lucida Grande UI Regular"/>
              <a:buChar char="▪"/>
              <a:tabLst/>
              <a:defRPr sz="1500">
                <a:solidFill>
                  <a:schemeClr val="bg1"/>
                </a:solidFill>
              </a:defRPr>
            </a:lvl2pPr>
            <a:lvl3pPr marL="533400" indent="-88900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.Lucida Grande UI Regular"/>
              <a:buChar char="▫"/>
              <a:tabLst/>
              <a:defRPr sz="1000" i="1">
                <a:solidFill>
                  <a:schemeClr val="bg1"/>
                </a:solidFill>
              </a:defRPr>
            </a:lvl3pPr>
          </a:lstStyle>
          <a:p>
            <a:pPr lvl="0"/>
            <a:r>
              <a:rPr lang="es-ES"/>
              <a:t>Titular nivel 1_20pt</a:t>
            </a:r>
          </a:p>
          <a:p>
            <a:pPr lvl="1"/>
            <a:r>
              <a:rPr lang="es-ES"/>
              <a:t>Titular nivel 2 15pt</a:t>
            </a:r>
          </a:p>
          <a:p>
            <a:pPr lvl="2"/>
            <a:r>
              <a:rPr lang="es-ES"/>
              <a:t>Descripción nivel 3_Arial Italic 10pt	</a:t>
            </a:r>
          </a:p>
        </p:txBody>
      </p:sp>
      <p:sp>
        <p:nvSpPr>
          <p:cNvPr id="37" name="Marcador de texto 21">
            <a:extLst>
              <a:ext uri="{FF2B5EF4-FFF2-40B4-BE49-F238E27FC236}">
                <a16:creationId xmlns:a16="http://schemas.microsoft.com/office/drawing/2014/main" id="{9404313A-361D-3543-889F-B062D83E12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1594027" y="5697522"/>
            <a:ext cx="442873" cy="2651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75355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D8E428A9-A393-456F-8CC7-3DCFC6DFA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075002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2" imgW="471" imgH="470" progId="TCLayout.ActiveDocument.1">
                  <p:embed/>
                </p:oleObj>
              </mc:Choice>
              <mc:Fallback>
                <p:oleObj name="Diapositiva de think-cell" r:id="rId42" imgW="471" imgH="47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D8E428A9-A393-456F-8CC7-3DCFC6DFA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966B025-571E-482D-A1DF-6C7F9BF559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3233" y="63024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3C3C3B"/>
                </a:solidFill>
              </a:defRPr>
            </a:lvl1pPr>
          </a:lstStyle>
          <a:p>
            <a:fld id="{FDBAB863-F5E0-4CB5-B4F6-5CBF1EAF3301}" type="datetime4">
              <a:rPr lang="es-ES" smtClean="0"/>
              <a:t>10 de marzo de 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AF7BCA3-3548-48A4-A24A-5D6F4AA6C4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1094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s-ES"/>
              <a:t>Nombre de client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FCFD4EC-3C51-4939-B5FB-E499A9165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29221" y="64109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/>
                </a:solidFill>
              </a:defRPr>
            </a:lvl1pPr>
          </a:lstStyle>
          <a:p>
            <a:fld id="{06EB3501-6E1D-4D08-B4BA-99CF222061D5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2177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814" r:id="rId26"/>
    <p:sldLayoutId id="2147483815" r:id="rId27"/>
    <p:sldLayoutId id="2147483816" r:id="rId28"/>
    <p:sldLayoutId id="2147483817" r:id="rId29"/>
    <p:sldLayoutId id="2147483818" r:id="rId30"/>
    <p:sldLayoutId id="2147483819" r:id="rId31"/>
    <p:sldLayoutId id="2147483820" r:id="rId32"/>
    <p:sldLayoutId id="2147483821" r:id="rId33"/>
    <p:sldLayoutId id="2147483822" r:id="rId34"/>
    <p:sldLayoutId id="2147483823" r:id="rId35"/>
    <p:sldLayoutId id="2147483824" r:id="rId36"/>
    <p:sldLayoutId id="2147483828" r:id="rId37"/>
    <p:sldLayoutId id="2147483829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81636" tIns="40818" rIns="81636" bIns="40818" rtlCol="0" anchor="ctr">
            <a:normAutofit/>
          </a:bodyPr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81636" tIns="40818" rIns="81636" bIns="40818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81636" tIns="40818" rIns="81636" bIns="40818" rtlCol="0" anchor="ctr"/>
          <a:lstStyle>
            <a:lvl1pPr algn="l">
              <a:defRPr sz="14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9285DE-2E18-1E49-91D3-09ED25F357EC}" type="datetimeFigureOut">
              <a:rPr lang="es-ES_tradnl" smtClean="0"/>
              <a:pPr/>
              <a:t>10/03/2026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 vert="horz" lIns="81636" tIns="40818" rIns="81636" bIns="40818" rtlCol="0" anchor="ctr"/>
          <a:lstStyle>
            <a:lvl1pPr algn="ctr">
              <a:defRPr sz="14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81636" tIns="40818" rIns="81636" bIns="40818" rtlCol="0" anchor="ctr"/>
          <a:lstStyle>
            <a:lvl1pPr algn="r">
              <a:defRPr sz="14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383AF4-3B31-484B-B1DA-0A0B0F3922AD}" type="slidenum">
              <a:rPr lang="es-ES_tradnl" smtClean="0"/>
              <a:pPr/>
              <a:t>‹Nº›</a:t>
            </a:fld>
            <a:endParaRPr lang="es-ES_trad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408181" rtl="0" eaLnBrk="1" latinLnBrk="0" hangingPunct="1">
        <a:spcBef>
          <a:spcPct val="0"/>
        </a:spcBef>
        <a:buNone/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6135" indent="-306135" algn="l" defTabSz="40818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63293" indent="-255113" algn="l" defTabSz="408181" rtl="0" eaLnBrk="1" latinLnBrk="0" hangingPunct="1">
        <a:spcBef>
          <a:spcPct val="20000"/>
        </a:spcBef>
        <a:buFont typeface="Arial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20452" indent="-204090" algn="l" defTabSz="40818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28632" indent="-204090" algn="l" defTabSz="408181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6813" indent="-204090" algn="l" defTabSz="408181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993" indent="-204090" algn="l" defTabSz="40818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3174" indent="-204090" algn="l" defTabSz="40818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1355" indent="-204090" algn="l" defTabSz="40818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9535" indent="-204090" algn="l" defTabSz="40818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1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1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42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22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03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84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64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45" algn="l" defTabSz="4081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0.png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1.png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32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3.jpg"/><Relationship Id="rId11" Type="http://schemas.openxmlformats.org/officeDocument/2006/relationships/image" Target="../media/image36.png"/><Relationship Id="rId5" Type="http://schemas.openxmlformats.org/officeDocument/2006/relationships/image" Target="../media/image9.png"/><Relationship Id="rId10" Type="http://schemas.microsoft.com/office/2007/relationships/hdphoto" Target="../media/hdphoto2.wdp"/><Relationship Id="rId4" Type="http://schemas.openxmlformats.org/officeDocument/2006/relationships/image" Target="../media/image16.png"/><Relationship Id="rId9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0.xml"/><Relationship Id="rId5" Type="http://schemas.microsoft.com/office/2007/relationships/hdphoto" Target="../media/hdphoto1.wdp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7.png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23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25.pn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>
            <a:extLst>
              <a:ext uri="{FF2B5EF4-FFF2-40B4-BE49-F238E27FC236}">
                <a16:creationId xmlns:a16="http://schemas.microsoft.com/office/drawing/2014/main" id="{3986D0A1-2128-E9F7-7F08-DBB18CA08D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44" b="11522"/>
          <a:stretch/>
        </p:blipFill>
        <p:spPr bwMode="auto">
          <a:xfrm>
            <a:off x="-4" y="0"/>
            <a:ext cx="12192000" cy="6438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rma en L 4">
            <a:extLst>
              <a:ext uri="{FF2B5EF4-FFF2-40B4-BE49-F238E27FC236}">
                <a16:creationId xmlns:a16="http://schemas.microsoft.com/office/drawing/2014/main" id="{317A6CF8-77AE-E098-E9D6-F6F5571A5B8E}"/>
              </a:ext>
            </a:extLst>
          </p:cNvPr>
          <p:cNvSpPr/>
          <p:nvPr/>
        </p:nvSpPr>
        <p:spPr>
          <a:xfrm>
            <a:off x="4" y="5002247"/>
            <a:ext cx="12191996" cy="187960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ss"/>
              <a:gd name="f6" fmla="val 0"/>
              <a:gd name="f7" fmla="val 60780"/>
              <a:gd name="f8" fmla="val 473047"/>
              <a:gd name="f9" fmla="+- 0 0 -90"/>
              <a:gd name="f10" fmla="+- 0 0 -360"/>
              <a:gd name="f11" fmla="abs f3"/>
              <a:gd name="f12" fmla="abs f4"/>
              <a:gd name="f13" fmla="abs f5"/>
              <a:gd name="f14" fmla="*/ f9 f0 1"/>
              <a:gd name="f15" fmla="*/ f10 f0 1"/>
              <a:gd name="f16" fmla="?: f11 f3 1"/>
              <a:gd name="f17" fmla="?: f12 f4 1"/>
              <a:gd name="f18" fmla="?: f13 f5 1"/>
              <a:gd name="f19" fmla="*/ f14 1 f2"/>
              <a:gd name="f20" fmla="*/ f15 1 f2"/>
              <a:gd name="f21" fmla="*/ f16 1 21600"/>
              <a:gd name="f22" fmla="*/ f17 1 21600"/>
              <a:gd name="f23" fmla="*/ 21600 f16 1"/>
              <a:gd name="f24" fmla="*/ 21600 f17 1"/>
              <a:gd name="f25" fmla="+- f19 0 f1"/>
              <a:gd name="f26" fmla="+- f20 0 f1"/>
              <a:gd name="f27" fmla="min f22 f21"/>
              <a:gd name="f28" fmla="*/ f23 1 f18"/>
              <a:gd name="f29" fmla="*/ f24 1 f18"/>
              <a:gd name="f30" fmla="val f28"/>
              <a:gd name="f31" fmla="val f29"/>
              <a:gd name="f32" fmla="*/ f6 f27 1"/>
              <a:gd name="f33" fmla="+- f31 0 f6"/>
              <a:gd name="f34" fmla="+- f30 0 f6"/>
              <a:gd name="f35" fmla="*/ f31 f27 1"/>
              <a:gd name="f36" fmla="*/ f30 f27 1"/>
              <a:gd name="f37" fmla="min f34 f33"/>
              <a:gd name="f38" fmla="+- f34 0 f33"/>
              <a:gd name="f39" fmla="*/ f37 f8 1"/>
              <a:gd name="f40" fmla="*/ f37 f7 1"/>
              <a:gd name="f41" fmla="*/ f39 1 100000"/>
              <a:gd name="f42" fmla="*/ f40 1 100000"/>
              <a:gd name="f43" fmla="+- f31 0 f42"/>
              <a:gd name="f44" fmla="*/ f41 1 2"/>
              <a:gd name="f45" fmla="?: f38 f30 f41"/>
              <a:gd name="f46" fmla="*/ f41 f27 1"/>
              <a:gd name="f47" fmla="+- f43 f31 0"/>
              <a:gd name="f48" fmla="?: f38 f43 f6"/>
              <a:gd name="f49" fmla="*/ f45 f27 1"/>
              <a:gd name="f50" fmla="*/ f43 f27 1"/>
              <a:gd name="f51" fmla="*/ f44 f27 1"/>
              <a:gd name="f52" fmla="*/ f47 1 2"/>
              <a:gd name="f53" fmla="*/ f48 f27 1"/>
              <a:gd name="f54" fmla="*/ f52 f2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5">
                <a:pos x="f36" y="f54"/>
              </a:cxn>
              <a:cxn ang="f26">
                <a:pos x="f51" y="f32"/>
              </a:cxn>
            </a:cxnLst>
            <a:rect l="f32" t="f53" r="f49" b="f35"/>
            <a:pathLst>
              <a:path>
                <a:moveTo>
                  <a:pt x="f32" y="f32"/>
                </a:moveTo>
                <a:lnTo>
                  <a:pt x="f46" y="f32"/>
                </a:lnTo>
                <a:lnTo>
                  <a:pt x="f46" y="f50"/>
                </a:lnTo>
                <a:lnTo>
                  <a:pt x="f36" y="f50"/>
                </a:lnTo>
                <a:lnTo>
                  <a:pt x="f36" y="f35"/>
                </a:lnTo>
                <a:lnTo>
                  <a:pt x="f32" y="f35"/>
                </a:lnTo>
                <a:close/>
              </a:path>
            </a:pathLst>
          </a:custGeom>
          <a:solidFill>
            <a:srgbClr val="F2F2F2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MX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" name="CuadroTexto 18">
            <a:extLst>
              <a:ext uri="{FF2B5EF4-FFF2-40B4-BE49-F238E27FC236}">
                <a16:creationId xmlns:a16="http://schemas.microsoft.com/office/drawing/2014/main" id="{1F6FA57C-3880-28E8-3253-BBE5A1EB0012}"/>
              </a:ext>
            </a:extLst>
          </p:cNvPr>
          <p:cNvSpPr txBox="1"/>
          <p:nvPr/>
        </p:nvSpPr>
        <p:spPr>
          <a:xfrm>
            <a:off x="133969" y="5293676"/>
            <a:ext cx="8779653" cy="13971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lvl="0">
              <a:lnSpc>
                <a:spcPct val="15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MX" sz="3000" dirty="0">
                <a:solidFill>
                  <a:srgbClr val="2359A2"/>
                </a:solidFill>
                <a:latin typeface="Soho Gothic Pro Medium" panose="020B06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¿POR QUÉ CERTIFICARSE? </a:t>
            </a:r>
          </a:p>
          <a:p>
            <a:pPr lvl="0">
              <a:lnSpc>
                <a:spcPct val="15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MX" sz="3000" dirty="0">
                <a:solidFill>
                  <a:srgbClr val="2359A2"/>
                </a:solidFill>
                <a:latin typeface="Soho Gothic Pro Medium" panose="020B06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 ventaja invisible que cambia la reputación 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7245090E-627B-294C-DF3C-C747620C6F7B}"/>
              </a:ext>
            </a:extLst>
          </p:cNvPr>
          <p:cNvGrpSpPr/>
          <p:nvPr/>
        </p:nvGrpSpPr>
        <p:grpSpPr>
          <a:xfrm>
            <a:off x="6689689" y="3525423"/>
            <a:ext cx="2223934" cy="2219242"/>
            <a:chOff x="-313" y="482551"/>
            <a:chExt cx="1448037" cy="1445536"/>
          </a:xfrm>
        </p:grpSpPr>
        <p:grpSp>
          <p:nvGrpSpPr>
            <p:cNvPr id="6" name="Grupo 5">
              <a:extLst>
                <a:ext uri="{FF2B5EF4-FFF2-40B4-BE49-F238E27FC236}">
                  <a16:creationId xmlns:a16="http://schemas.microsoft.com/office/drawing/2014/main" id="{179CF000-A3D4-90FB-C9A0-A3645402DA9E}"/>
                </a:ext>
              </a:extLst>
            </p:cNvPr>
            <p:cNvGrpSpPr/>
            <p:nvPr/>
          </p:nvGrpSpPr>
          <p:grpSpPr>
            <a:xfrm>
              <a:off x="-313" y="482551"/>
              <a:ext cx="965546" cy="1445536"/>
              <a:chOff x="-1006928" y="1006920"/>
              <a:chExt cx="2014798" cy="3016347"/>
            </a:xfrm>
          </p:grpSpPr>
          <p:sp>
            <p:nvSpPr>
              <p:cNvPr id="9" name="Rectángulo 8">
                <a:extLst>
                  <a:ext uri="{FF2B5EF4-FFF2-40B4-BE49-F238E27FC236}">
                    <a16:creationId xmlns:a16="http://schemas.microsoft.com/office/drawing/2014/main" id="{20BD85B4-94CD-5DD9-65BE-6B47EE425AB4}"/>
                  </a:ext>
                </a:extLst>
              </p:cNvPr>
              <p:cNvSpPr/>
              <p:nvPr/>
            </p:nvSpPr>
            <p:spPr>
              <a:xfrm>
                <a:off x="951" y="3016346"/>
                <a:ext cx="1006919" cy="1006921"/>
              </a:xfrm>
              <a:prstGeom prst="rect">
                <a:avLst/>
              </a:prstGeom>
              <a:gradFill flip="none" rotWithShape="1">
                <a:gsLst>
                  <a:gs pos="1000">
                    <a:srgbClr val="243678">
                      <a:alpha val="87000"/>
                    </a:srgbClr>
                  </a:gs>
                  <a:gs pos="50000">
                    <a:srgbClr val="243678">
                      <a:alpha val="60000"/>
                    </a:srgbClr>
                  </a:gs>
                  <a:gs pos="100000">
                    <a:srgbClr val="243678">
                      <a:shade val="100000"/>
                      <a:satMod val="115000"/>
                      <a:alpha val="3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/>
              </a:p>
            </p:txBody>
          </p:sp>
          <p:sp>
            <p:nvSpPr>
              <p:cNvPr id="10" name="Rectángulo 9">
                <a:extLst>
                  <a:ext uri="{FF2B5EF4-FFF2-40B4-BE49-F238E27FC236}">
                    <a16:creationId xmlns:a16="http://schemas.microsoft.com/office/drawing/2014/main" id="{FDEA7904-A242-9BE9-7A85-E690F3E0D22A}"/>
                  </a:ext>
                </a:extLst>
              </p:cNvPr>
              <p:cNvSpPr/>
              <p:nvPr/>
            </p:nvSpPr>
            <p:spPr>
              <a:xfrm>
                <a:off x="-1006928" y="2006189"/>
                <a:ext cx="1006922" cy="1006920"/>
              </a:xfrm>
              <a:prstGeom prst="rect">
                <a:avLst/>
              </a:prstGeom>
              <a:gradFill flip="none" rotWithShape="1">
                <a:gsLst>
                  <a:gs pos="0">
                    <a:srgbClr val="D1DFE3"/>
                  </a:gs>
                  <a:gs pos="50000">
                    <a:srgbClr val="D1DFE3">
                      <a:alpha val="74000"/>
                    </a:srgbClr>
                  </a:gs>
                  <a:gs pos="100000">
                    <a:srgbClr val="D1DFE3">
                      <a:shade val="100000"/>
                      <a:satMod val="115000"/>
                      <a:alpha val="36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/>
              </a:p>
            </p:txBody>
          </p:sp>
          <p:sp>
            <p:nvSpPr>
              <p:cNvPr id="11" name="Rectángulo 10">
                <a:extLst>
                  <a:ext uri="{FF2B5EF4-FFF2-40B4-BE49-F238E27FC236}">
                    <a16:creationId xmlns:a16="http://schemas.microsoft.com/office/drawing/2014/main" id="{226CD6B3-9B61-CE77-71D4-145F42884EE3}"/>
                  </a:ext>
                </a:extLst>
              </p:cNvPr>
              <p:cNvSpPr/>
              <p:nvPr/>
            </p:nvSpPr>
            <p:spPr>
              <a:xfrm>
                <a:off x="0" y="1006920"/>
                <a:ext cx="1006920" cy="1006920"/>
              </a:xfrm>
              <a:prstGeom prst="rect">
                <a:avLst/>
              </a:prstGeom>
              <a:gradFill flip="none" rotWithShape="1">
                <a:gsLst>
                  <a:gs pos="0">
                    <a:srgbClr val="243678">
                      <a:alpha val="99000"/>
                    </a:srgbClr>
                  </a:gs>
                  <a:gs pos="50000">
                    <a:srgbClr val="243678">
                      <a:alpha val="69000"/>
                    </a:srgbClr>
                  </a:gs>
                  <a:gs pos="100000">
                    <a:srgbClr val="243678">
                      <a:alpha val="45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</p:grp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E5788B4-0A8D-67B4-8765-6C22705F50A6}"/>
                </a:ext>
              </a:extLst>
            </p:cNvPr>
            <p:cNvSpPr/>
            <p:nvPr/>
          </p:nvSpPr>
          <p:spPr>
            <a:xfrm>
              <a:off x="965232" y="1445536"/>
              <a:ext cx="482492" cy="482494"/>
            </a:xfrm>
            <a:prstGeom prst="rect">
              <a:avLst/>
            </a:prstGeom>
            <a:gradFill flip="none" rotWithShape="1">
              <a:gsLst>
                <a:gs pos="0">
                  <a:srgbClr val="2359A2">
                    <a:alpha val="90000"/>
                  </a:srgbClr>
                </a:gs>
                <a:gs pos="50000">
                  <a:srgbClr val="2359A2">
                    <a:alpha val="68000"/>
                  </a:srgbClr>
                </a:gs>
                <a:gs pos="100000">
                  <a:srgbClr val="2359A2">
                    <a:shade val="100000"/>
                    <a:satMod val="115000"/>
                    <a:alpha val="42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/>
            </a:p>
          </p:txBody>
        </p:sp>
      </p:grpSp>
      <p:pic>
        <p:nvPicPr>
          <p:cNvPr id="14" name="Imagen 14" descr="Logotipo&#10;&#10;Descripción generada automáticamente">
            <a:extLst>
              <a:ext uri="{FF2B5EF4-FFF2-40B4-BE49-F238E27FC236}">
                <a16:creationId xmlns:a16="http://schemas.microsoft.com/office/drawing/2014/main" id="{D1BFB7CF-2FAF-8AD8-8A5A-38BF3EA7E60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8952"/>
          <a:stretch>
            <a:fillRect/>
          </a:stretch>
        </p:blipFill>
        <p:spPr>
          <a:xfrm>
            <a:off x="9806000" y="6101542"/>
            <a:ext cx="2112413" cy="46314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Gráfico 4">
            <a:extLst>
              <a:ext uri="{FF2B5EF4-FFF2-40B4-BE49-F238E27FC236}">
                <a16:creationId xmlns:a16="http://schemas.microsoft.com/office/drawing/2014/main" id="{D3491D23-6469-A4C7-5DF2-21E9E0AFBA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2421206" cy="77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65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1572CA18-6E45-8407-1C4E-A54D0A005B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65" r="18068"/>
          <a:stretch>
            <a:fillRect/>
          </a:stretch>
        </p:blipFill>
        <p:spPr bwMode="auto">
          <a:xfrm>
            <a:off x="6623157" y="0"/>
            <a:ext cx="556884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8" name="Título 1">
            <a:extLst>
              <a:ext uri="{FF2B5EF4-FFF2-40B4-BE49-F238E27FC236}">
                <a16:creationId xmlns:a16="http://schemas.microsoft.com/office/drawing/2014/main" id="{EF3FA71A-A58D-4243-9A09-F94896E6203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73440" y="690688"/>
            <a:ext cx="4401879" cy="944208"/>
          </a:xfrm>
        </p:spPr>
        <p:txBody>
          <a:bodyPr wrap="square">
            <a:spAutoFit/>
          </a:bodyPr>
          <a:lstStyle/>
          <a:p>
            <a:pPr algn="l"/>
            <a:r>
              <a:rPr lang="es-ES" sz="2800" dirty="0">
                <a:solidFill>
                  <a:srgbClr val="2359A2"/>
                </a:solidFill>
                <a:latin typeface="Soho Gothic Pro Medium" panose="020B0603030504020204" pitchFamily="34" charset="0"/>
              </a:rPr>
              <a:t>Excelencia y Experiencia</a:t>
            </a:r>
            <a:br>
              <a:rPr lang="es-ES" sz="2800" dirty="0">
                <a:solidFill>
                  <a:srgbClr val="2359A2"/>
                </a:solidFill>
                <a:latin typeface="Soho Gothic Pro Medium" panose="020B0603030504020204" pitchFamily="34" charset="0"/>
              </a:rPr>
            </a:br>
            <a:r>
              <a:rPr lang="es-ES" sz="2800" dirty="0">
                <a:solidFill>
                  <a:srgbClr val="2359A2"/>
                </a:solidFill>
                <a:latin typeface="Soho Gothic Pro Medium" panose="020B0603030504020204" pitchFamily="34" charset="0"/>
              </a:rPr>
              <a:t> 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AB993E5C-2607-52B8-8D91-AC81D2349FCB}"/>
              </a:ext>
            </a:extLst>
          </p:cNvPr>
          <p:cNvGrpSpPr/>
          <p:nvPr/>
        </p:nvGrpSpPr>
        <p:grpSpPr>
          <a:xfrm rot="5400000">
            <a:off x="5653928" y="765"/>
            <a:ext cx="2904545" cy="2903016"/>
            <a:chOff x="-1006275" y="1128"/>
            <a:chExt cx="3020110" cy="3019635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3709981F-6EB1-E358-C610-95B850750E59}"/>
                </a:ext>
              </a:extLst>
            </p:cNvPr>
            <p:cNvSpPr/>
            <p:nvPr/>
          </p:nvSpPr>
          <p:spPr>
            <a:xfrm>
              <a:off x="-2" y="1128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89000"/>
                  </a:srgbClr>
                </a:gs>
                <a:gs pos="100000">
                  <a:srgbClr val="D1DFE3">
                    <a:alpha val="31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76648D18-EAD2-F589-CD15-6153919C50AA}"/>
                </a:ext>
              </a:extLst>
            </p:cNvPr>
            <p:cNvSpPr/>
            <p:nvPr/>
          </p:nvSpPr>
          <p:spPr>
            <a:xfrm>
              <a:off x="1006914" y="1008657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74000"/>
                  </a:srgbClr>
                </a:gs>
                <a:gs pos="100000">
                  <a:srgbClr val="D1DFE3">
                    <a:shade val="100000"/>
                    <a:satMod val="115000"/>
                    <a:alpha val="36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C080A734-0B07-D216-1242-87CC2A28646A}"/>
                </a:ext>
              </a:extLst>
            </p:cNvPr>
            <p:cNvSpPr/>
            <p:nvPr/>
          </p:nvSpPr>
          <p:spPr>
            <a:xfrm>
              <a:off x="0" y="1006920"/>
              <a:ext cx="1006920" cy="1006920"/>
            </a:xfrm>
            <a:prstGeom prst="rect">
              <a:avLst/>
            </a:prstGeom>
            <a:gradFill flip="none" rotWithShape="1">
              <a:gsLst>
                <a:gs pos="0">
                  <a:srgbClr val="243678">
                    <a:alpha val="99000"/>
                  </a:srgbClr>
                </a:gs>
                <a:gs pos="50000">
                  <a:srgbClr val="243678">
                    <a:alpha val="69000"/>
                  </a:srgbClr>
                </a:gs>
                <a:gs pos="100000">
                  <a:srgbClr val="243678">
                    <a:alpha val="4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DF605F42-DA74-2401-FAB9-8446538B1DE3}"/>
                </a:ext>
              </a:extLst>
            </p:cNvPr>
            <p:cNvSpPr/>
            <p:nvPr/>
          </p:nvSpPr>
          <p:spPr>
            <a:xfrm>
              <a:off x="-1006275" y="2013842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3D7DC3"/>
                </a:gs>
                <a:gs pos="50000">
                  <a:srgbClr val="3D7DC3">
                    <a:alpha val="88000"/>
                  </a:srgbClr>
                </a:gs>
                <a:gs pos="100000">
                  <a:srgbClr val="285484">
                    <a:alpha val="73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</p:grpSp>
      <p:pic>
        <p:nvPicPr>
          <p:cNvPr id="22" name="object 23">
            <a:extLst>
              <a:ext uri="{FF2B5EF4-FFF2-40B4-BE49-F238E27FC236}">
                <a16:creationId xmlns:a16="http://schemas.microsoft.com/office/drawing/2014/main" id="{5A38298F-A937-6EE3-906C-CF47D85C6330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4701" y="6445055"/>
            <a:ext cx="1063752" cy="234149"/>
          </a:xfrm>
          <a:prstGeom prst="rect">
            <a:avLst/>
          </a:prstGeom>
        </p:spPr>
      </p:pic>
      <p:sp>
        <p:nvSpPr>
          <p:cNvPr id="23" name="object 24">
            <a:extLst>
              <a:ext uri="{FF2B5EF4-FFF2-40B4-BE49-F238E27FC236}">
                <a16:creationId xmlns:a16="http://schemas.microsoft.com/office/drawing/2014/main" id="{C1AE1748-FDB2-D8E6-27BC-1019EB4F25A0}"/>
              </a:ext>
            </a:extLst>
          </p:cNvPr>
          <p:cNvSpPr/>
          <p:nvPr/>
        </p:nvSpPr>
        <p:spPr>
          <a:xfrm>
            <a:off x="1396658" y="6304847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Gráfico 4">
            <a:extLst>
              <a:ext uri="{FF2B5EF4-FFF2-40B4-BE49-F238E27FC236}">
                <a16:creationId xmlns:a16="http://schemas.microsoft.com/office/drawing/2014/main" id="{2AA960AE-597B-CA6C-DEAC-300F614760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1820214" cy="584590"/>
          </a:xfrm>
          <a:prstGeom prst="rect">
            <a:avLst/>
          </a:prstGeom>
        </p:spPr>
      </p:pic>
      <p:pic>
        <p:nvPicPr>
          <p:cNvPr id="18" name="Imagen 17" descr="Gráfico, Gráfico de barras&#10;&#10;El contenido generado por IA puede ser incorrecto.">
            <a:extLst>
              <a:ext uri="{FF2B5EF4-FFF2-40B4-BE49-F238E27FC236}">
                <a16:creationId xmlns:a16="http://schemas.microsoft.com/office/drawing/2014/main" id="{75DC90B5-C553-392F-9509-711619FBFC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701" y="1339280"/>
            <a:ext cx="6258798" cy="443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3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E7043B-7BC3-2819-0CCC-2C545C0F4F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46C375E0-E82C-78C9-55B9-1071B70928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74"/>
          <a:stretch>
            <a:fillRect/>
          </a:stretch>
        </p:blipFill>
        <p:spPr bwMode="auto">
          <a:xfrm>
            <a:off x="0" y="0"/>
            <a:ext cx="5041801" cy="4342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ject 23">
            <a:extLst>
              <a:ext uri="{FF2B5EF4-FFF2-40B4-BE49-F238E27FC236}">
                <a16:creationId xmlns:a16="http://schemas.microsoft.com/office/drawing/2014/main" id="{15D54629-40E1-A2E8-AF6B-C9BDFCACB89F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570719" y="6431279"/>
            <a:ext cx="1063752" cy="234149"/>
          </a:xfrm>
          <a:prstGeom prst="rect">
            <a:avLst/>
          </a:prstGeom>
        </p:spPr>
      </p:pic>
      <p:sp>
        <p:nvSpPr>
          <p:cNvPr id="6" name="object 24">
            <a:extLst>
              <a:ext uri="{FF2B5EF4-FFF2-40B4-BE49-F238E27FC236}">
                <a16:creationId xmlns:a16="http://schemas.microsoft.com/office/drawing/2014/main" id="{20DFBA9A-2167-F9FD-1EA9-D428D538F6DA}"/>
              </a:ext>
            </a:extLst>
          </p:cNvPr>
          <p:cNvSpPr/>
          <p:nvPr/>
        </p:nvSpPr>
        <p:spPr>
          <a:xfrm>
            <a:off x="10742676" y="6291071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97BF29F4-CCC3-208A-0878-72865B9CAF9A}"/>
              </a:ext>
            </a:extLst>
          </p:cNvPr>
          <p:cNvSpPr/>
          <p:nvPr/>
        </p:nvSpPr>
        <p:spPr>
          <a:xfrm>
            <a:off x="1" y="4342605"/>
            <a:ext cx="5041800" cy="2515394"/>
          </a:xfrm>
          <a:custGeom>
            <a:avLst/>
            <a:gdLst/>
            <a:ahLst/>
            <a:cxnLst/>
            <a:rect l="l" t="t" r="r" b="b"/>
            <a:pathLst>
              <a:path w="5815965" h="2148840">
                <a:moveTo>
                  <a:pt x="5815584" y="0"/>
                </a:moveTo>
                <a:lnTo>
                  <a:pt x="0" y="0"/>
                </a:lnTo>
                <a:lnTo>
                  <a:pt x="0" y="2148840"/>
                </a:lnTo>
                <a:lnTo>
                  <a:pt x="5815584" y="2148840"/>
                </a:lnTo>
                <a:lnTo>
                  <a:pt x="5815584" y="0"/>
                </a:lnTo>
                <a:close/>
              </a:path>
            </a:pathLst>
          </a:custGeom>
          <a:solidFill>
            <a:srgbClr val="699BD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572CAD7A-AE5B-7202-593F-AD2E741EA457}"/>
              </a:ext>
            </a:extLst>
          </p:cNvPr>
          <p:cNvGrpSpPr/>
          <p:nvPr/>
        </p:nvGrpSpPr>
        <p:grpSpPr>
          <a:xfrm rot="16200000">
            <a:off x="2137256" y="2408799"/>
            <a:ext cx="2904545" cy="2903016"/>
            <a:chOff x="-1006275" y="1128"/>
            <a:chExt cx="3020110" cy="3019635"/>
          </a:xfrm>
        </p:grpSpPr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4CA4A286-C215-7FB3-C8F6-900BAC68967E}"/>
                </a:ext>
              </a:extLst>
            </p:cNvPr>
            <p:cNvSpPr/>
            <p:nvPr/>
          </p:nvSpPr>
          <p:spPr>
            <a:xfrm>
              <a:off x="-2" y="1128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89000"/>
                  </a:srgbClr>
                </a:gs>
                <a:gs pos="100000">
                  <a:srgbClr val="D1DFE3">
                    <a:alpha val="31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EEDBCF03-2D60-7737-E61D-4D3A28312422}"/>
                </a:ext>
              </a:extLst>
            </p:cNvPr>
            <p:cNvSpPr/>
            <p:nvPr/>
          </p:nvSpPr>
          <p:spPr>
            <a:xfrm>
              <a:off x="1006914" y="1008657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74000"/>
                  </a:srgbClr>
                </a:gs>
                <a:gs pos="100000">
                  <a:srgbClr val="D1DFE3">
                    <a:shade val="100000"/>
                    <a:satMod val="115000"/>
                    <a:alpha val="36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6315F922-6BFD-7BEF-AAF6-B5C6DDDACD46}"/>
                </a:ext>
              </a:extLst>
            </p:cNvPr>
            <p:cNvSpPr/>
            <p:nvPr/>
          </p:nvSpPr>
          <p:spPr>
            <a:xfrm>
              <a:off x="0" y="1006920"/>
              <a:ext cx="1006920" cy="1006920"/>
            </a:xfrm>
            <a:prstGeom prst="rect">
              <a:avLst/>
            </a:prstGeom>
            <a:gradFill flip="none" rotWithShape="1">
              <a:gsLst>
                <a:gs pos="0">
                  <a:srgbClr val="243678">
                    <a:alpha val="99000"/>
                  </a:srgbClr>
                </a:gs>
                <a:gs pos="50000">
                  <a:srgbClr val="243678">
                    <a:alpha val="69000"/>
                  </a:srgbClr>
                </a:gs>
                <a:gs pos="100000">
                  <a:srgbClr val="243678">
                    <a:alpha val="4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62B3C578-68B7-FC1B-508C-ADCCDDAB2DC8}"/>
                </a:ext>
              </a:extLst>
            </p:cNvPr>
            <p:cNvSpPr/>
            <p:nvPr/>
          </p:nvSpPr>
          <p:spPr>
            <a:xfrm>
              <a:off x="-1006275" y="2013842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3D7DC3"/>
                </a:gs>
                <a:gs pos="50000">
                  <a:srgbClr val="3D7DC3">
                    <a:alpha val="88000"/>
                  </a:srgbClr>
                </a:gs>
                <a:gs pos="100000">
                  <a:srgbClr val="285484">
                    <a:alpha val="73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5627F5B3-3CE3-2FD3-7FB1-C1A500ECD843}"/>
              </a:ext>
            </a:extLst>
          </p:cNvPr>
          <p:cNvGrpSpPr/>
          <p:nvPr/>
        </p:nvGrpSpPr>
        <p:grpSpPr>
          <a:xfrm>
            <a:off x="11496132" y="0"/>
            <a:ext cx="695868" cy="692325"/>
            <a:chOff x="7984179" y="4906862"/>
            <a:chExt cx="990985" cy="985939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4F8039EF-8CBD-1E54-73D5-1AB13E4A68AB}"/>
                </a:ext>
              </a:extLst>
            </p:cNvPr>
            <p:cNvSpPr/>
            <p:nvPr/>
          </p:nvSpPr>
          <p:spPr>
            <a:xfrm>
              <a:off x="8472955" y="4906862"/>
              <a:ext cx="502209" cy="502209"/>
            </a:xfrm>
            <a:prstGeom prst="rect">
              <a:avLst/>
            </a:prstGeom>
            <a:solidFill>
              <a:srgbClr val="D1D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6436ED6E-070B-B853-D4CB-5785A6FB43AF}"/>
                </a:ext>
              </a:extLst>
            </p:cNvPr>
            <p:cNvSpPr/>
            <p:nvPr/>
          </p:nvSpPr>
          <p:spPr>
            <a:xfrm>
              <a:off x="7984179" y="5404025"/>
              <a:ext cx="488776" cy="488776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pic>
        <p:nvPicPr>
          <p:cNvPr id="4" name="Gráfico 4">
            <a:extLst>
              <a:ext uri="{FF2B5EF4-FFF2-40B4-BE49-F238E27FC236}">
                <a16:creationId xmlns:a16="http://schemas.microsoft.com/office/drawing/2014/main" id="{7DEDFACE-23E6-8303-BEAA-CE2F3CFC2F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42648" y="95124"/>
            <a:ext cx="1982018" cy="636556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C7EEB88E-770C-714B-8A49-490F4B2E951C}"/>
              </a:ext>
            </a:extLst>
          </p:cNvPr>
          <p:cNvSpPr txBox="1">
            <a:spLocks/>
          </p:cNvSpPr>
          <p:nvPr/>
        </p:nvSpPr>
        <p:spPr>
          <a:xfrm>
            <a:off x="176325" y="4442640"/>
            <a:ext cx="4572861" cy="296145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s-MX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Una reputación sólida a través de la certificación</a:t>
            </a:r>
            <a:b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</a:b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 </a:t>
            </a:r>
          </a:p>
        </p:txBody>
      </p:sp>
      <p:pic>
        <p:nvPicPr>
          <p:cNvPr id="3" name="Imagen 2" descr="Gráfico, Gráfico circular&#10;&#10;El contenido generado por IA puede ser incorrecto.">
            <a:extLst>
              <a:ext uri="{FF2B5EF4-FFF2-40B4-BE49-F238E27FC236}">
                <a16:creationId xmlns:a16="http://schemas.microsoft.com/office/drawing/2014/main" id="{C5457035-76A8-C962-BCDB-24ED6644C6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9254" y="1195134"/>
            <a:ext cx="6773220" cy="4772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63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F6BF6-E57B-6C34-5217-8D493E6ABE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>
            <a:extLst>
              <a:ext uri="{FF2B5EF4-FFF2-40B4-BE49-F238E27FC236}">
                <a16:creationId xmlns:a16="http://schemas.microsoft.com/office/drawing/2014/main" id="{2E014EA0-69C4-7715-4818-57D64CAEFF4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0" t="4732" r="66461" b="34910"/>
          <a:stretch/>
        </p:blipFill>
        <p:spPr bwMode="auto">
          <a:xfrm>
            <a:off x="3267408" y="17747"/>
            <a:ext cx="2597219" cy="3573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ángulo 16">
            <a:extLst>
              <a:ext uri="{FF2B5EF4-FFF2-40B4-BE49-F238E27FC236}">
                <a16:creationId xmlns:a16="http://schemas.microsoft.com/office/drawing/2014/main" id="{8A274E75-8785-200D-FFCC-5A5A78779BEF}"/>
              </a:ext>
            </a:extLst>
          </p:cNvPr>
          <p:cNvSpPr/>
          <p:nvPr/>
        </p:nvSpPr>
        <p:spPr>
          <a:xfrm>
            <a:off x="104461" y="3536250"/>
            <a:ext cx="12192000" cy="2487059"/>
          </a:xfrm>
          <a:prstGeom prst="rect">
            <a:avLst/>
          </a:prstGeom>
          <a:solidFill>
            <a:srgbClr val="699B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MX" dirty="0"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26B5BA3C-D547-97E3-A247-B4F94B5BEBC9}"/>
              </a:ext>
            </a:extLst>
          </p:cNvPr>
          <p:cNvGrpSpPr/>
          <p:nvPr/>
        </p:nvGrpSpPr>
        <p:grpSpPr>
          <a:xfrm rot="5400000">
            <a:off x="10089332" y="-32179"/>
            <a:ext cx="2070489" cy="2134847"/>
            <a:chOff x="-1006275" y="1128"/>
            <a:chExt cx="3020110" cy="3019635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11D0B294-FD35-4ED1-0264-19106084369B}"/>
                </a:ext>
              </a:extLst>
            </p:cNvPr>
            <p:cNvSpPr/>
            <p:nvPr/>
          </p:nvSpPr>
          <p:spPr>
            <a:xfrm>
              <a:off x="-2" y="1128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89000"/>
                  </a:srgbClr>
                </a:gs>
                <a:gs pos="100000">
                  <a:srgbClr val="D1DFE3">
                    <a:alpha val="31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A93B112E-7688-F405-23A5-59F0DD1A94D0}"/>
                </a:ext>
              </a:extLst>
            </p:cNvPr>
            <p:cNvSpPr/>
            <p:nvPr/>
          </p:nvSpPr>
          <p:spPr>
            <a:xfrm>
              <a:off x="1006914" y="1008657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74000"/>
                  </a:srgbClr>
                </a:gs>
                <a:gs pos="100000">
                  <a:srgbClr val="D1DFE3">
                    <a:shade val="100000"/>
                    <a:satMod val="115000"/>
                    <a:alpha val="36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86C68B48-FD74-B604-0DDE-774CE6B3A78D}"/>
                </a:ext>
              </a:extLst>
            </p:cNvPr>
            <p:cNvSpPr/>
            <p:nvPr/>
          </p:nvSpPr>
          <p:spPr>
            <a:xfrm>
              <a:off x="0" y="1006920"/>
              <a:ext cx="1006920" cy="1006920"/>
            </a:xfrm>
            <a:prstGeom prst="rect">
              <a:avLst/>
            </a:prstGeom>
            <a:gradFill flip="none" rotWithShape="1">
              <a:gsLst>
                <a:gs pos="0">
                  <a:srgbClr val="243678">
                    <a:alpha val="99000"/>
                  </a:srgbClr>
                </a:gs>
                <a:gs pos="50000">
                  <a:srgbClr val="243678">
                    <a:alpha val="69000"/>
                  </a:srgbClr>
                </a:gs>
                <a:gs pos="100000">
                  <a:srgbClr val="243678">
                    <a:alpha val="4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611DF67B-428C-09EC-C06C-5560A28F565C}"/>
                </a:ext>
              </a:extLst>
            </p:cNvPr>
            <p:cNvSpPr/>
            <p:nvPr/>
          </p:nvSpPr>
          <p:spPr>
            <a:xfrm>
              <a:off x="-1006275" y="2013842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3D7DC3"/>
                </a:gs>
                <a:gs pos="50000">
                  <a:srgbClr val="3D7DC3">
                    <a:alpha val="88000"/>
                  </a:srgbClr>
                </a:gs>
                <a:gs pos="100000">
                  <a:srgbClr val="285484">
                    <a:alpha val="73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</p:grpSp>
      <p:pic>
        <p:nvPicPr>
          <p:cNvPr id="22" name="object 23">
            <a:extLst>
              <a:ext uri="{FF2B5EF4-FFF2-40B4-BE49-F238E27FC236}">
                <a16:creationId xmlns:a16="http://schemas.microsoft.com/office/drawing/2014/main" id="{765AAA38-AF0C-4C58-7AAF-6664E63B5A99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4701" y="6445055"/>
            <a:ext cx="1063752" cy="234149"/>
          </a:xfrm>
          <a:prstGeom prst="rect">
            <a:avLst/>
          </a:prstGeom>
        </p:spPr>
      </p:pic>
      <p:sp>
        <p:nvSpPr>
          <p:cNvPr id="23" name="object 24">
            <a:extLst>
              <a:ext uri="{FF2B5EF4-FFF2-40B4-BE49-F238E27FC236}">
                <a16:creationId xmlns:a16="http://schemas.microsoft.com/office/drawing/2014/main" id="{0EF66447-BF59-D2DD-3D11-80649D7A420F}"/>
              </a:ext>
            </a:extLst>
          </p:cNvPr>
          <p:cNvSpPr/>
          <p:nvPr/>
        </p:nvSpPr>
        <p:spPr>
          <a:xfrm>
            <a:off x="1396658" y="6304847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Gráfico 4">
            <a:extLst>
              <a:ext uri="{FF2B5EF4-FFF2-40B4-BE49-F238E27FC236}">
                <a16:creationId xmlns:a16="http://schemas.microsoft.com/office/drawing/2014/main" id="{57F1DD72-FCAB-2CE5-1CCA-3D4043EE3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1820214" cy="58459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361341A4-50E3-6497-5E95-52061A89CA4B}"/>
              </a:ext>
            </a:extLst>
          </p:cNvPr>
          <p:cNvSpPr txBox="1">
            <a:spLocks/>
          </p:cNvSpPr>
          <p:nvPr/>
        </p:nvSpPr>
        <p:spPr>
          <a:xfrm>
            <a:off x="267524" y="3797789"/>
            <a:ext cx="11924476" cy="2606201"/>
          </a:xfrm>
          <a:prstGeom prst="rect">
            <a:avLst/>
          </a:prstGeom>
        </p:spPr>
        <p:txBody>
          <a:bodyPr vert="horz" wrap="square" lIns="81636" tIns="40818" rIns="81636" bIns="40818" rtlCol="0" anchor="ctr">
            <a:spAutoFit/>
          </a:bodyPr>
          <a:lstStyle>
            <a:lvl1pPr algn="ctr" defTabSz="408181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sz="2000" dirty="0">
                <a:solidFill>
                  <a:schemeClr val="bg1"/>
                </a:solidFill>
                <a:latin typeface="+mn-lt"/>
              </a:rPr>
              <a:t>Certificarse es ganar en reputación; invertir en el activo más valioso más poderoso que una empresa puede poseer. No se compra, no se improvisa y no se construye de la noche a la mañana. Se construye con consistencia, con evidencia, con la capacidad de demostrar.</a:t>
            </a:r>
          </a:p>
          <a:p>
            <a:pPr algn="l"/>
            <a:br>
              <a:rPr lang="es-MX" sz="2000" dirty="0">
                <a:solidFill>
                  <a:schemeClr val="bg1"/>
                </a:solidFill>
                <a:latin typeface="+mn-lt"/>
              </a:rPr>
            </a:br>
            <a:r>
              <a:rPr lang="es-MX" sz="2000" dirty="0">
                <a:solidFill>
                  <a:schemeClr val="bg1"/>
                </a:solidFill>
                <a:latin typeface="+mn-lt"/>
              </a:rPr>
              <a:t>En un mundo donde la confianza es el recurso más escaso y más demandado, la certificación es la inversión de mayor retorno que una organización (y profesional) puede hacer en sí misma.</a:t>
            </a:r>
            <a:br>
              <a:rPr lang="es-ES" sz="2400" dirty="0">
                <a:solidFill>
                  <a:schemeClr val="bg1"/>
                </a:solidFill>
                <a:latin typeface="Soho Gothic Pro Medium" panose="020B0603030504020204" pitchFamily="34" charset="0"/>
              </a:rPr>
            </a:br>
            <a:r>
              <a:rPr lang="es-ES" sz="24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 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9E1A770D-33F1-9405-416C-B986E6C93DBD}"/>
              </a:ext>
            </a:extLst>
          </p:cNvPr>
          <p:cNvGrpSpPr/>
          <p:nvPr/>
        </p:nvGrpSpPr>
        <p:grpSpPr>
          <a:xfrm>
            <a:off x="6836001" y="855244"/>
            <a:ext cx="3811493" cy="2331406"/>
            <a:chOff x="5538838" y="2251588"/>
            <a:chExt cx="5322528" cy="2998155"/>
          </a:xfrm>
        </p:grpSpPr>
        <p:pic>
          <p:nvPicPr>
            <p:cNvPr id="21" name="Imagen 20" descr="Teams&#10;&#10;Descripción generada automáticamente con confianza media">
              <a:extLst>
                <a:ext uri="{FF2B5EF4-FFF2-40B4-BE49-F238E27FC236}">
                  <a16:creationId xmlns:a16="http://schemas.microsoft.com/office/drawing/2014/main" id="{F2BC166B-F8FB-14CD-076F-E5B8B51970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8838" y="2251588"/>
              <a:ext cx="5322528" cy="299392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61EFDD6B-57B8-DD31-1A7F-42A3100FC286}"/>
                </a:ext>
              </a:extLst>
            </p:cNvPr>
            <p:cNvGrpSpPr/>
            <p:nvPr/>
          </p:nvGrpSpPr>
          <p:grpSpPr>
            <a:xfrm rot="10800000">
              <a:off x="10210156" y="2251588"/>
              <a:ext cx="651210" cy="651168"/>
              <a:chOff x="-2" y="1128"/>
              <a:chExt cx="2013837" cy="2014450"/>
            </a:xfrm>
          </p:grpSpPr>
          <p:sp>
            <p:nvSpPr>
              <p:cNvPr id="39" name="Rectángulo 38">
                <a:extLst>
                  <a:ext uri="{FF2B5EF4-FFF2-40B4-BE49-F238E27FC236}">
                    <a16:creationId xmlns:a16="http://schemas.microsoft.com/office/drawing/2014/main" id="{23F09DB8-535A-B01F-67B8-BB9D59F84DF3}"/>
                  </a:ext>
                </a:extLst>
              </p:cNvPr>
              <p:cNvSpPr/>
              <p:nvPr/>
            </p:nvSpPr>
            <p:spPr>
              <a:xfrm>
                <a:off x="-2" y="1128"/>
                <a:ext cx="1006921" cy="1006921"/>
              </a:xfrm>
              <a:prstGeom prst="rect">
                <a:avLst/>
              </a:prstGeom>
              <a:solidFill>
                <a:srgbClr val="699B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sz="2000" dirty="0"/>
              </a:p>
            </p:txBody>
          </p:sp>
          <p:sp>
            <p:nvSpPr>
              <p:cNvPr id="40" name="Rectángulo 39">
                <a:extLst>
                  <a:ext uri="{FF2B5EF4-FFF2-40B4-BE49-F238E27FC236}">
                    <a16:creationId xmlns:a16="http://schemas.microsoft.com/office/drawing/2014/main" id="{8E8297AA-E847-302E-89B8-AF723DF7F5D3}"/>
                  </a:ext>
                </a:extLst>
              </p:cNvPr>
              <p:cNvSpPr/>
              <p:nvPr/>
            </p:nvSpPr>
            <p:spPr>
              <a:xfrm>
                <a:off x="1006914" y="1008657"/>
                <a:ext cx="1006921" cy="1006921"/>
              </a:xfrm>
              <a:prstGeom prst="rect">
                <a:avLst/>
              </a:prstGeom>
              <a:solidFill>
                <a:srgbClr val="699B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sz="2000"/>
              </a:p>
            </p:txBody>
          </p:sp>
          <p:sp>
            <p:nvSpPr>
              <p:cNvPr id="41" name="Rectángulo 40">
                <a:extLst>
                  <a:ext uri="{FF2B5EF4-FFF2-40B4-BE49-F238E27FC236}">
                    <a16:creationId xmlns:a16="http://schemas.microsoft.com/office/drawing/2014/main" id="{A4C4342D-2B92-4F5E-C095-1018DDA454A9}"/>
                  </a:ext>
                </a:extLst>
              </p:cNvPr>
              <p:cNvSpPr/>
              <p:nvPr/>
            </p:nvSpPr>
            <p:spPr>
              <a:xfrm>
                <a:off x="0" y="1006920"/>
                <a:ext cx="1006920" cy="1006920"/>
              </a:xfrm>
              <a:prstGeom prst="rect">
                <a:avLst/>
              </a:prstGeom>
              <a:solidFill>
                <a:srgbClr val="2359A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sz="2000" dirty="0"/>
              </a:p>
            </p:txBody>
          </p:sp>
        </p:grp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45854970-703C-5AE3-ABB1-42A3F0E9D4E4}"/>
                </a:ext>
              </a:extLst>
            </p:cNvPr>
            <p:cNvSpPr/>
            <p:nvPr/>
          </p:nvSpPr>
          <p:spPr>
            <a:xfrm>
              <a:off x="5538838" y="3325628"/>
              <a:ext cx="5322527" cy="1186921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000"/>
            </a:p>
          </p:txBody>
        </p:sp>
        <p:pic>
          <p:nvPicPr>
            <p:cNvPr id="26" name="Imagen 14" descr="Logotipo&#10;&#10;Descripción generada automáticamente">
              <a:extLst>
                <a:ext uri="{FF2B5EF4-FFF2-40B4-BE49-F238E27FC236}">
                  <a16:creationId xmlns:a16="http://schemas.microsoft.com/office/drawing/2014/main" id="{E1303D78-7C71-4B59-7A34-1CB482E68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b="28952"/>
            <a:stretch>
              <a:fillRect/>
            </a:stretch>
          </p:blipFill>
          <p:spPr>
            <a:xfrm>
              <a:off x="7092713" y="2610525"/>
              <a:ext cx="2112413" cy="463142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28" name="Grupo 27">
              <a:extLst>
                <a:ext uri="{FF2B5EF4-FFF2-40B4-BE49-F238E27FC236}">
                  <a16:creationId xmlns:a16="http://schemas.microsoft.com/office/drawing/2014/main" id="{407E3D52-80D8-7CD3-8F78-B32FA62A355B}"/>
                </a:ext>
              </a:extLst>
            </p:cNvPr>
            <p:cNvGrpSpPr/>
            <p:nvPr/>
          </p:nvGrpSpPr>
          <p:grpSpPr>
            <a:xfrm>
              <a:off x="5538838" y="5102835"/>
              <a:ext cx="5322527" cy="146908"/>
              <a:chOff x="5538838" y="5081772"/>
              <a:chExt cx="4691635" cy="172996"/>
            </a:xfrm>
          </p:grpSpPr>
          <p:sp>
            <p:nvSpPr>
              <p:cNvPr id="34" name="Rectángulo 33">
                <a:extLst>
                  <a:ext uri="{FF2B5EF4-FFF2-40B4-BE49-F238E27FC236}">
                    <a16:creationId xmlns:a16="http://schemas.microsoft.com/office/drawing/2014/main" id="{24923692-7B8F-DD03-BF7A-6CE7786DACA0}"/>
                  </a:ext>
                </a:extLst>
              </p:cNvPr>
              <p:cNvSpPr/>
              <p:nvPr/>
            </p:nvSpPr>
            <p:spPr>
              <a:xfrm rot="10800000">
                <a:off x="5538838" y="5081772"/>
                <a:ext cx="938327" cy="172995"/>
              </a:xfrm>
              <a:prstGeom prst="rect">
                <a:avLst/>
              </a:prstGeom>
              <a:solidFill>
                <a:srgbClr val="2436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sz="2000" dirty="0"/>
              </a:p>
            </p:txBody>
          </p:sp>
          <p:sp>
            <p:nvSpPr>
              <p:cNvPr id="35" name="Rectángulo 34">
                <a:extLst>
                  <a:ext uri="{FF2B5EF4-FFF2-40B4-BE49-F238E27FC236}">
                    <a16:creationId xmlns:a16="http://schemas.microsoft.com/office/drawing/2014/main" id="{881BC7C9-F611-C947-A707-E84A58BAF825}"/>
                  </a:ext>
                </a:extLst>
              </p:cNvPr>
              <p:cNvSpPr/>
              <p:nvPr/>
            </p:nvSpPr>
            <p:spPr>
              <a:xfrm rot="10800000">
                <a:off x="6477165" y="5081772"/>
                <a:ext cx="938327" cy="172995"/>
              </a:xfrm>
              <a:prstGeom prst="rect">
                <a:avLst/>
              </a:prstGeom>
              <a:solidFill>
                <a:srgbClr val="2359A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sz="2000" dirty="0"/>
              </a:p>
            </p:txBody>
          </p:sp>
          <p:sp>
            <p:nvSpPr>
              <p:cNvPr id="36" name="Rectángulo 35">
                <a:extLst>
                  <a:ext uri="{FF2B5EF4-FFF2-40B4-BE49-F238E27FC236}">
                    <a16:creationId xmlns:a16="http://schemas.microsoft.com/office/drawing/2014/main" id="{E1E3DA80-3FDF-C1F6-3049-24C4FE345137}"/>
                  </a:ext>
                </a:extLst>
              </p:cNvPr>
              <p:cNvSpPr/>
              <p:nvPr/>
            </p:nvSpPr>
            <p:spPr>
              <a:xfrm rot="10800000">
                <a:off x="7415492" y="5081772"/>
                <a:ext cx="938327" cy="172995"/>
              </a:xfrm>
              <a:prstGeom prst="rect">
                <a:avLst/>
              </a:prstGeom>
              <a:solidFill>
                <a:srgbClr val="699B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sz="2000" dirty="0"/>
              </a:p>
            </p:txBody>
          </p:sp>
          <p:sp>
            <p:nvSpPr>
              <p:cNvPr id="37" name="Rectángulo 36">
                <a:extLst>
                  <a:ext uri="{FF2B5EF4-FFF2-40B4-BE49-F238E27FC236}">
                    <a16:creationId xmlns:a16="http://schemas.microsoft.com/office/drawing/2014/main" id="{0ED4B400-F1D1-BA47-F65D-701F8CAD170E}"/>
                  </a:ext>
                </a:extLst>
              </p:cNvPr>
              <p:cNvSpPr/>
              <p:nvPr/>
            </p:nvSpPr>
            <p:spPr>
              <a:xfrm rot="10800000">
                <a:off x="8353819" y="5081773"/>
                <a:ext cx="938327" cy="172995"/>
              </a:xfrm>
              <a:prstGeom prst="rect">
                <a:avLst/>
              </a:prstGeom>
              <a:solidFill>
                <a:srgbClr val="A8C1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sz="2000" dirty="0"/>
              </a:p>
            </p:txBody>
          </p:sp>
          <p:sp>
            <p:nvSpPr>
              <p:cNvPr id="38" name="Rectángulo 37">
                <a:extLst>
                  <a:ext uri="{FF2B5EF4-FFF2-40B4-BE49-F238E27FC236}">
                    <a16:creationId xmlns:a16="http://schemas.microsoft.com/office/drawing/2014/main" id="{B84E8679-3301-510B-D17A-72733775F349}"/>
                  </a:ext>
                </a:extLst>
              </p:cNvPr>
              <p:cNvSpPr/>
              <p:nvPr/>
            </p:nvSpPr>
            <p:spPr>
              <a:xfrm rot="10800000">
                <a:off x="9292146" y="5081773"/>
                <a:ext cx="938327" cy="172995"/>
              </a:xfrm>
              <a:prstGeom prst="rect">
                <a:avLst/>
              </a:prstGeom>
              <a:solidFill>
                <a:srgbClr val="B8CF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sz="2000" dirty="0"/>
              </a:p>
            </p:txBody>
          </p:sp>
        </p:grpSp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9B1022D8-9745-7C99-89FE-36053BED72C6}"/>
                </a:ext>
              </a:extLst>
            </p:cNvPr>
            <p:cNvGrpSpPr/>
            <p:nvPr/>
          </p:nvGrpSpPr>
          <p:grpSpPr>
            <a:xfrm>
              <a:off x="6344971" y="3590974"/>
              <a:ext cx="4327495" cy="724252"/>
              <a:chOff x="6344971" y="3590974"/>
              <a:chExt cx="4327495" cy="724252"/>
            </a:xfrm>
          </p:grpSpPr>
          <p:pic>
            <p:nvPicPr>
              <p:cNvPr id="30" name="Picture 2">
                <a:extLst>
                  <a:ext uri="{FF2B5EF4-FFF2-40B4-BE49-F238E27FC236}">
                    <a16:creationId xmlns:a16="http://schemas.microsoft.com/office/drawing/2014/main" id="{5EE223D9-AD4B-11F7-8B57-B9C0DCA1B25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6344971" y="3616578"/>
                <a:ext cx="976309" cy="641923"/>
              </a:xfrm>
              <a:prstGeom prst="rect">
                <a:avLst/>
              </a:prstGeom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Imagen 30" descr="Interfaz de usuario gráfica, Aplicación&#10;&#10;Descripción generada automáticamente con confianza media">
                <a:extLst>
                  <a:ext uri="{FF2B5EF4-FFF2-40B4-BE49-F238E27FC236}">
                    <a16:creationId xmlns:a16="http://schemas.microsoft.com/office/drawing/2014/main" id="{16521673-27FA-6AA6-AF15-6CCD493FBE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21281" y="3590974"/>
                <a:ext cx="693134" cy="693134"/>
              </a:xfrm>
              <a:prstGeom prst="rect">
                <a:avLst/>
              </a:prstGeom>
            </p:spPr>
          </p:pic>
          <p:sp>
            <p:nvSpPr>
              <p:cNvPr id="32" name="CuadroTexto 31">
                <a:extLst>
                  <a:ext uri="{FF2B5EF4-FFF2-40B4-BE49-F238E27FC236}">
                    <a16:creationId xmlns:a16="http://schemas.microsoft.com/office/drawing/2014/main" id="{BF2A058B-F56D-2BB0-412E-B2154E0D6348}"/>
                  </a:ext>
                </a:extLst>
              </p:cNvPr>
              <p:cNvSpPr txBox="1"/>
              <p:nvPr/>
            </p:nvSpPr>
            <p:spPr>
              <a:xfrm>
                <a:off x="8022399" y="3738041"/>
                <a:ext cx="2650067" cy="5771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dirty="0">
                    <a:solidFill>
                      <a:schemeClr val="bg1"/>
                    </a:solidFill>
                    <a:latin typeface="Soho Gothic Pro Medium" panose="020B0603030504020204" pitchFamily="34" charset="0"/>
                    <a:ea typeface="Calibri" panose="020F0502020204030204" pitchFamily="34" charset="0"/>
                  </a:rPr>
                  <a:t>COMPROMISOS</a:t>
                </a:r>
              </a:p>
              <a:p>
                <a:r>
                  <a:rPr lang="es-ES" dirty="0">
                    <a:solidFill>
                      <a:schemeClr val="bg1"/>
                    </a:solidFill>
                    <a:latin typeface="Soho Gothic Pro Medium" panose="020B0603030504020204" pitchFamily="34" charset="0"/>
                    <a:ea typeface="Calibri" panose="020F0502020204030204" pitchFamily="34" charset="0"/>
                  </a:rPr>
                  <a:t>CERTIFICADOS</a:t>
                </a:r>
                <a:endParaRPr lang="es-MX" dirty="0">
                  <a:solidFill>
                    <a:schemeClr val="bg1"/>
                  </a:solidFill>
                  <a:latin typeface="Soho Gothic Pro Medium" panose="020B0603030504020204" pitchFamily="34" charset="0"/>
                  <a:ea typeface="Calibri" panose="020F0502020204030204" pitchFamily="34" charset="0"/>
                </a:endParaRPr>
              </a:p>
            </p:txBody>
          </p:sp>
          <p:sp>
            <p:nvSpPr>
              <p:cNvPr id="33" name="CuadroTexto 32">
                <a:extLst>
                  <a:ext uri="{FF2B5EF4-FFF2-40B4-BE49-F238E27FC236}">
                    <a16:creationId xmlns:a16="http://schemas.microsoft.com/office/drawing/2014/main" id="{B30F304D-9265-45B9-0A39-6F465732E5B1}"/>
                  </a:ext>
                </a:extLst>
              </p:cNvPr>
              <p:cNvSpPr txBox="1"/>
              <p:nvPr/>
            </p:nvSpPr>
            <p:spPr>
              <a:xfrm>
                <a:off x="8022398" y="3616578"/>
                <a:ext cx="2650067" cy="1923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MX" sz="800" i="0" u="none" strike="noStrike" dirty="0">
                    <a:solidFill>
                      <a:schemeClr val="bg1"/>
                    </a:solidFill>
                    <a:effectLst/>
                    <a:latin typeface="Soho Gothic Pro" panose="020B0503030504020204" pitchFamily="34" charset="0"/>
                  </a:rPr>
                  <a:t>AEROPUERTO DE SANTIAGO NUEVO PUDAHUEL </a:t>
                </a:r>
                <a:endParaRPr lang="es-MX" sz="800" dirty="0">
                  <a:solidFill>
                    <a:schemeClr val="bg1"/>
                  </a:solidFill>
                  <a:latin typeface="Soho Gothic Pro Medium" panose="020B0603030504020204" pitchFamily="34" charset="0"/>
                  <a:ea typeface="Calibri" panose="020F0502020204030204" pitchFamily="34" charset="0"/>
                </a:endParaRPr>
              </a:p>
            </p:txBody>
          </p:sp>
        </p:grp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70E1CC88-9BDB-A24E-4363-4E417DA9BE18}"/>
              </a:ext>
            </a:extLst>
          </p:cNvPr>
          <p:cNvGrpSpPr/>
          <p:nvPr/>
        </p:nvGrpSpPr>
        <p:grpSpPr>
          <a:xfrm rot="21031635">
            <a:off x="4250671" y="1485668"/>
            <a:ext cx="1784401" cy="1875467"/>
            <a:chOff x="5906292" y="-608183"/>
            <a:chExt cx="2556760" cy="2559257"/>
          </a:xfrm>
          <a:scene3d>
            <a:camera prst="perspectiveHeroicExtremeRightFacing"/>
            <a:lightRig rig="threePt" dir="t"/>
          </a:scene3d>
        </p:grpSpPr>
        <p:pic>
          <p:nvPicPr>
            <p:cNvPr id="43" name="Imagen 42" descr="Teams&#10;&#10;Descripción generada automáticamente con confianza media">
              <a:extLst>
                <a:ext uri="{FF2B5EF4-FFF2-40B4-BE49-F238E27FC236}">
                  <a16:creationId xmlns:a16="http://schemas.microsoft.com/office/drawing/2014/main" id="{A65D5F62-22A4-D29F-34B6-983FC908E5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" r="43327"/>
            <a:stretch/>
          </p:blipFill>
          <p:spPr>
            <a:xfrm>
              <a:off x="5906294" y="-606933"/>
              <a:ext cx="2556758" cy="255675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B3FC6A99-9D3A-055F-7584-CE3B408B56BF}"/>
                </a:ext>
              </a:extLst>
            </p:cNvPr>
            <p:cNvGrpSpPr/>
            <p:nvPr/>
          </p:nvGrpSpPr>
          <p:grpSpPr>
            <a:xfrm>
              <a:off x="8091550" y="-608183"/>
              <a:ext cx="371501" cy="371477"/>
              <a:chOff x="3598764" y="3409713"/>
              <a:chExt cx="651210" cy="651168"/>
            </a:xfrm>
          </p:grpSpPr>
          <p:sp>
            <p:nvSpPr>
              <p:cNvPr id="60" name="Rectángulo 59">
                <a:extLst>
                  <a:ext uri="{FF2B5EF4-FFF2-40B4-BE49-F238E27FC236}">
                    <a16:creationId xmlns:a16="http://schemas.microsoft.com/office/drawing/2014/main" id="{3F3FEFEB-23AC-13E5-DC2E-92D3DCF4A5EF}"/>
                  </a:ext>
                </a:extLst>
              </p:cNvPr>
              <p:cNvSpPr/>
              <p:nvPr/>
            </p:nvSpPr>
            <p:spPr>
              <a:xfrm rot="10800000">
                <a:off x="3924368" y="3735395"/>
                <a:ext cx="325606" cy="325486"/>
              </a:xfrm>
              <a:prstGeom prst="rect">
                <a:avLst/>
              </a:prstGeom>
              <a:solidFill>
                <a:srgbClr val="699B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  <p:sp>
            <p:nvSpPr>
              <p:cNvPr id="61" name="Rectángulo 60">
                <a:extLst>
                  <a:ext uri="{FF2B5EF4-FFF2-40B4-BE49-F238E27FC236}">
                    <a16:creationId xmlns:a16="http://schemas.microsoft.com/office/drawing/2014/main" id="{83CCECFB-8382-BB0C-4E18-46E19898E642}"/>
                  </a:ext>
                </a:extLst>
              </p:cNvPr>
              <p:cNvSpPr/>
              <p:nvPr/>
            </p:nvSpPr>
            <p:spPr>
              <a:xfrm rot="10800000">
                <a:off x="3598764" y="3409713"/>
                <a:ext cx="325606" cy="325486"/>
              </a:xfrm>
              <a:prstGeom prst="rect">
                <a:avLst/>
              </a:prstGeom>
              <a:solidFill>
                <a:srgbClr val="699B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/>
              </a:p>
            </p:txBody>
          </p:sp>
          <p:sp>
            <p:nvSpPr>
              <p:cNvPr id="62" name="Rectángulo 61">
                <a:extLst>
                  <a:ext uri="{FF2B5EF4-FFF2-40B4-BE49-F238E27FC236}">
                    <a16:creationId xmlns:a16="http://schemas.microsoft.com/office/drawing/2014/main" id="{563CC2D6-DFF9-8B32-C30B-931BD9BCF746}"/>
                  </a:ext>
                </a:extLst>
              </p:cNvPr>
              <p:cNvSpPr/>
              <p:nvPr/>
            </p:nvSpPr>
            <p:spPr>
              <a:xfrm rot="10800000">
                <a:off x="3924368" y="3410275"/>
                <a:ext cx="325605" cy="325485"/>
              </a:xfrm>
              <a:prstGeom prst="rect">
                <a:avLst/>
              </a:prstGeom>
              <a:solidFill>
                <a:srgbClr val="2359A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</p:grpSp>
        <p:grpSp>
          <p:nvGrpSpPr>
            <p:cNvPr id="45" name="Grupo 44">
              <a:extLst>
                <a:ext uri="{FF2B5EF4-FFF2-40B4-BE49-F238E27FC236}">
                  <a16:creationId xmlns:a16="http://schemas.microsoft.com/office/drawing/2014/main" id="{BDE5C240-25E5-1DCA-33C5-550D6E3E3680}"/>
                </a:ext>
              </a:extLst>
            </p:cNvPr>
            <p:cNvGrpSpPr/>
            <p:nvPr/>
          </p:nvGrpSpPr>
          <p:grpSpPr>
            <a:xfrm flipH="1">
              <a:off x="5906293" y="-601830"/>
              <a:ext cx="371501" cy="371477"/>
              <a:chOff x="3598764" y="3409713"/>
              <a:chExt cx="651210" cy="651168"/>
            </a:xfrm>
          </p:grpSpPr>
          <p:sp>
            <p:nvSpPr>
              <p:cNvPr id="57" name="Rectángulo 56">
                <a:extLst>
                  <a:ext uri="{FF2B5EF4-FFF2-40B4-BE49-F238E27FC236}">
                    <a16:creationId xmlns:a16="http://schemas.microsoft.com/office/drawing/2014/main" id="{CC2CE115-9590-C300-813F-C731583659CD}"/>
                  </a:ext>
                </a:extLst>
              </p:cNvPr>
              <p:cNvSpPr/>
              <p:nvPr/>
            </p:nvSpPr>
            <p:spPr>
              <a:xfrm rot="10800000">
                <a:off x="3924368" y="3735395"/>
                <a:ext cx="325606" cy="325486"/>
              </a:xfrm>
              <a:prstGeom prst="rect">
                <a:avLst/>
              </a:prstGeom>
              <a:solidFill>
                <a:srgbClr val="699B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  <p:sp>
            <p:nvSpPr>
              <p:cNvPr id="58" name="Rectángulo 57">
                <a:extLst>
                  <a:ext uri="{FF2B5EF4-FFF2-40B4-BE49-F238E27FC236}">
                    <a16:creationId xmlns:a16="http://schemas.microsoft.com/office/drawing/2014/main" id="{19B38F18-3515-1B3E-88A3-F46E7C67632E}"/>
                  </a:ext>
                </a:extLst>
              </p:cNvPr>
              <p:cNvSpPr/>
              <p:nvPr/>
            </p:nvSpPr>
            <p:spPr>
              <a:xfrm rot="10800000">
                <a:off x="3598764" y="3409713"/>
                <a:ext cx="325606" cy="325486"/>
              </a:xfrm>
              <a:prstGeom prst="rect">
                <a:avLst/>
              </a:prstGeom>
              <a:solidFill>
                <a:srgbClr val="699B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/>
              </a:p>
            </p:txBody>
          </p:sp>
          <p:sp>
            <p:nvSpPr>
              <p:cNvPr id="59" name="Rectángulo 58">
                <a:extLst>
                  <a:ext uri="{FF2B5EF4-FFF2-40B4-BE49-F238E27FC236}">
                    <a16:creationId xmlns:a16="http://schemas.microsoft.com/office/drawing/2014/main" id="{6E006F3E-837F-9F96-13CC-F2E8779AD4B5}"/>
                  </a:ext>
                </a:extLst>
              </p:cNvPr>
              <p:cNvSpPr/>
              <p:nvPr/>
            </p:nvSpPr>
            <p:spPr>
              <a:xfrm rot="10800000">
                <a:off x="3924368" y="3410275"/>
                <a:ext cx="325605" cy="325485"/>
              </a:xfrm>
              <a:prstGeom prst="rect">
                <a:avLst/>
              </a:prstGeom>
              <a:solidFill>
                <a:srgbClr val="2359A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</p:grpSp>
        <p:grpSp>
          <p:nvGrpSpPr>
            <p:cNvPr id="46" name="Grupo 45">
              <a:extLst>
                <a:ext uri="{FF2B5EF4-FFF2-40B4-BE49-F238E27FC236}">
                  <a16:creationId xmlns:a16="http://schemas.microsoft.com/office/drawing/2014/main" id="{3871EC35-BBF9-0B87-0D3F-306A03D65FB1}"/>
                </a:ext>
              </a:extLst>
            </p:cNvPr>
            <p:cNvGrpSpPr/>
            <p:nvPr/>
          </p:nvGrpSpPr>
          <p:grpSpPr>
            <a:xfrm>
              <a:off x="5906294" y="1828696"/>
              <a:ext cx="2556757" cy="122378"/>
              <a:chOff x="5437123" y="5219792"/>
              <a:chExt cx="5322527" cy="146908"/>
            </a:xfrm>
          </p:grpSpPr>
          <p:sp>
            <p:nvSpPr>
              <p:cNvPr id="52" name="Rectángulo 51">
                <a:extLst>
                  <a:ext uri="{FF2B5EF4-FFF2-40B4-BE49-F238E27FC236}">
                    <a16:creationId xmlns:a16="http://schemas.microsoft.com/office/drawing/2014/main" id="{CB830D99-D7B3-38D2-7A2E-16A52EE3A1CC}"/>
                  </a:ext>
                </a:extLst>
              </p:cNvPr>
              <p:cNvSpPr/>
              <p:nvPr/>
            </p:nvSpPr>
            <p:spPr>
              <a:xfrm rot="10800000">
                <a:off x="5437123" y="5219792"/>
                <a:ext cx="1064505" cy="146907"/>
              </a:xfrm>
              <a:prstGeom prst="rect">
                <a:avLst/>
              </a:prstGeom>
              <a:solidFill>
                <a:srgbClr val="2436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  <p:sp>
            <p:nvSpPr>
              <p:cNvPr id="53" name="Rectángulo 52">
                <a:extLst>
                  <a:ext uri="{FF2B5EF4-FFF2-40B4-BE49-F238E27FC236}">
                    <a16:creationId xmlns:a16="http://schemas.microsoft.com/office/drawing/2014/main" id="{977C69E2-BE0E-D121-9207-5B0389116FC5}"/>
                  </a:ext>
                </a:extLst>
              </p:cNvPr>
              <p:cNvSpPr/>
              <p:nvPr/>
            </p:nvSpPr>
            <p:spPr>
              <a:xfrm rot="10800000">
                <a:off x="6501628" y="5219792"/>
                <a:ext cx="1064505" cy="146907"/>
              </a:xfrm>
              <a:prstGeom prst="rect">
                <a:avLst/>
              </a:prstGeom>
              <a:solidFill>
                <a:srgbClr val="2359A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  <p:sp>
            <p:nvSpPr>
              <p:cNvPr id="54" name="Rectángulo 53">
                <a:extLst>
                  <a:ext uri="{FF2B5EF4-FFF2-40B4-BE49-F238E27FC236}">
                    <a16:creationId xmlns:a16="http://schemas.microsoft.com/office/drawing/2014/main" id="{EB46D29C-97F5-65A0-62A3-0CF02237F876}"/>
                  </a:ext>
                </a:extLst>
              </p:cNvPr>
              <p:cNvSpPr/>
              <p:nvPr/>
            </p:nvSpPr>
            <p:spPr>
              <a:xfrm rot="10800000">
                <a:off x="7566134" y="5219792"/>
                <a:ext cx="1064505" cy="146907"/>
              </a:xfrm>
              <a:prstGeom prst="rect">
                <a:avLst/>
              </a:prstGeom>
              <a:solidFill>
                <a:srgbClr val="699B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  <p:sp>
            <p:nvSpPr>
              <p:cNvPr id="55" name="Rectángulo 54">
                <a:extLst>
                  <a:ext uri="{FF2B5EF4-FFF2-40B4-BE49-F238E27FC236}">
                    <a16:creationId xmlns:a16="http://schemas.microsoft.com/office/drawing/2014/main" id="{D6B05D9E-0E1C-93B1-8278-5D9B0B0A23CA}"/>
                  </a:ext>
                </a:extLst>
              </p:cNvPr>
              <p:cNvSpPr/>
              <p:nvPr/>
            </p:nvSpPr>
            <p:spPr>
              <a:xfrm rot="10800000">
                <a:off x="8630639" y="5219793"/>
                <a:ext cx="1064505" cy="146907"/>
              </a:xfrm>
              <a:prstGeom prst="rect">
                <a:avLst/>
              </a:prstGeom>
              <a:solidFill>
                <a:srgbClr val="A8C1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  <p:sp>
            <p:nvSpPr>
              <p:cNvPr id="56" name="Rectángulo 55">
                <a:extLst>
                  <a:ext uri="{FF2B5EF4-FFF2-40B4-BE49-F238E27FC236}">
                    <a16:creationId xmlns:a16="http://schemas.microsoft.com/office/drawing/2014/main" id="{AA50595D-854D-651C-513B-B05C61C3C071}"/>
                  </a:ext>
                </a:extLst>
              </p:cNvPr>
              <p:cNvSpPr/>
              <p:nvPr/>
            </p:nvSpPr>
            <p:spPr>
              <a:xfrm rot="10800000">
                <a:off x="9695145" y="5219793"/>
                <a:ext cx="1064505" cy="146907"/>
              </a:xfrm>
              <a:prstGeom prst="rect">
                <a:avLst/>
              </a:prstGeom>
              <a:solidFill>
                <a:srgbClr val="B8CF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MX" dirty="0"/>
              </a:p>
            </p:txBody>
          </p:sp>
        </p:grpSp>
        <p:sp>
          <p:nvSpPr>
            <p:cNvPr id="47" name="CuadroTexto 46">
              <a:extLst>
                <a:ext uri="{FF2B5EF4-FFF2-40B4-BE49-F238E27FC236}">
                  <a16:creationId xmlns:a16="http://schemas.microsoft.com/office/drawing/2014/main" id="{ACA11A92-3700-E052-B53F-F33B2794271A}"/>
                </a:ext>
              </a:extLst>
            </p:cNvPr>
            <p:cNvSpPr txBox="1"/>
            <p:nvPr/>
          </p:nvSpPr>
          <p:spPr>
            <a:xfrm>
              <a:off x="6169916" y="-60014"/>
              <a:ext cx="2104614" cy="7848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MX" sz="900" dirty="0">
                  <a:solidFill>
                    <a:srgbClr val="2359A2"/>
                  </a:solidFill>
                  <a:latin typeface="Soho Gothic Pro" panose="020B0503030504020204" pitchFamily="34" charset="0"/>
                </a:rPr>
                <a:t>¿Sabías que  las tiendas del Aeropuerto de Santiago asumimos el gran desafío de alcanzar una certificación de </a:t>
              </a:r>
            </a:p>
            <a:p>
              <a:pPr algn="ctr"/>
              <a:r>
                <a:rPr lang="es-MX" sz="900" dirty="0">
                  <a:solidFill>
                    <a:srgbClr val="2359A2"/>
                  </a:solidFill>
                  <a:latin typeface="Soho Gothic Pro Medium" panose="020B0603030504020204" pitchFamily="34" charset="0"/>
                </a:rPr>
                <a:t>CALIDAD INTERNACIONAL?</a:t>
              </a:r>
              <a:endParaRPr lang="es-MX" sz="900" dirty="0">
                <a:solidFill>
                  <a:srgbClr val="2359A2"/>
                </a:solidFill>
              </a:endParaRPr>
            </a:p>
          </p:txBody>
        </p:sp>
        <p:sp>
          <p:nvSpPr>
            <p:cNvPr id="48" name="Rectángulo 47">
              <a:extLst>
                <a:ext uri="{FF2B5EF4-FFF2-40B4-BE49-F238E27FC236}">
                  <a16:creationId xmlns:a16="http://schemas.microsoft.com/office/drawing/2014/main" id="{6FA53FD9-6C8B-FDFB-C97B-52EF4FA1E829}"/>
                </a:ext>
              </a:extLst>
            </p:cNvPr>
            <p:cNvSpPr/>
            <p:nvPr/>
          </p:nvSpPr>
          <p:spPr>
            <a:xfrm>
              <a:off x="5906292" y="773088"/>
              <a:ext cx="2556759" cy="791609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pic>
          <p:nvPicPr>
            <p:cNvPr id="49" name="Imagen 48" descr="Interfaz de usuario gráfica, Aplicación&#10;&#10;Descripción generada automáticamente con confianza media">
              <a:extLst>
                <a:ext uri="{FF2B5EF4-FFF2-40B4-BE49-F238E27FC236}">
                  <a16:creationId xmlns:a16="http://schemas.microsoft.com/office/drawing/2014/main" id="{7496F0C2-ABD0-C5FE-203A-C52ECE3BB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1619" y="913529"/>
              <a:ext cx="489969" cy="489969"/>
            </a:xfrm>
            <a:prstGeom prst="rect">
              <a:avLst/>
            </a:prstGeom>
          </p:spPr>
        </p:pic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2CDD7D8A-8E85-3159-EAB4-F6B126C15261}"/>
                </a:ext>
              </a:extLst>
            </p:cNvPr>
            <p:cNvSpPr txBox="1"/>
            <p:nvPr/>
          </p:nvSpPr>
          <p:spPr>
            <a:xfrm>
              <a:off x="6829439" y="967284"/>
              <a:ext cx="136392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>
                  <a:solidFill>
                    <a:schemeClr val="bg1"/>
                  </a:solidFill>
                  <a:latin typeface="Soho Gothic Pro Medium" panose="020B0603030504020204" pitchFamily="34" charset="0"/>
                  <a:ea typeface="Calibri" panose="020F0502020204030204" pitchFamily="34" charset="0"/>
                </a:rPr>
                <a:t>Conoce aquí por qué lo hacemos </a:t>
              </a:r>
              <a:endParaRPr lang="es-MX" sz="1100" dirty="0">
                <a:solidFill>
                  <a:schemeClr val="bg1"/>
                </a:solidFill>
                <a:latin typeface="Soho Gothic Pro Medium" panose="020B0603030504020204" pitchFamily="34" charset="0"/>
                <a:ea typeface="Calibri" panose="020F0502020204030204" pitchFamily="34" charset="0"/>
              </a:endParaRPr>
            </a:p>
          </p:txBody>
        </p:sp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id="{1D074BFE-8E3A-A43C-D420-0EEA03AC5D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7014082" y="-449824"/>
              <a:ext cx="526291" cy="346036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3" name="Imagen 62" descr="Imagen que contiene firmar, botella, dibujo, tráfico&#10;&#10;El contenido generado por IA puede ser incorrecto.">
            <a:extLst>
              <a:ext uri="{FF2B5EF4-FFF2-40B4-BE49-F238E27FC236}">
                <a16:creationId xmlns:a16="http://schemas.microsoft.com/office/drawing/2014/main" id="{A19D49C5-2370-0622-9E35-5D1C1813EFB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03975" y="1159787"/>
            <a:ext cx="774212" cy="472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661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A1859C56-CD58-4F28-8A6E-3788501C68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94" b="1042"/>
          <a:stretch/>
        </p:blipFill>
        <p:spPr bwMode="auto">
          <a:xfrm>
            <a:off x="1" y="-1"/>
            <a:ext cx="12192000" cy="6857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56A8CF58-FB75-4F78-4BCB-822BE48311B1}"/>
              </a:ext>
            </a:extLst>
          </p:cNvPr>
          <p:cNvSpPr/>
          <p:nvPr/>
        </p:nvSpPr>
        <p:spPr>
          <a:xfrm>
            <a:off x="0" y="0"/>
            <a:ext cx="6059488" cy="6858000"/>
          </a:xfrm>
          <a:prstGeom prst="rect">
            <a:avLst/>
          </a:prstGeom>
          <a:solidFill>
            <a:srgbClr val="2359A2">
              <a:alpha val="9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MX" dirty="0"/>
          </a:p>
        </p:txBody>
      </p:sp>
      <p:pic>
        <p:nvPicPr>
          <p:cNvPr id="13" name="Imagen 12" descr="Logotipo&#10;&#10;Descripción generada automáticamente">
            <a:extLst>
              <a:ext uri="{FF2B5EF4-FFF2-40B4-BE49-F238E27FC236}">
                <a16:creationId xmlns:a16="http://schemas.microsoft.com/office/drawing/2014/main" id="{C1C31E84-BBDF-0343-7FE0-4C01FE1EA13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5372"/>
          <a:stretch/>
        </p:blipFill>
        <p:spPr>
          <a:xfrm>
            <a:off x="710341" y="3552486"/>
            <a:ext cx="3829905" cy="882009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BBDD93B8-5BCF-D7D1-A4E5-6A5EB879E71D}"/>
              </a:ext>
            </a:extLst>
          </p:cNvPr>
          <p:cNvSpPr txBox="1"/>
          <p:nvPr/>
        </p:nvSpPr>
        <p:spPr>
          <a:xfrm>
            <a:off x="803379" y="4426361"/>
            <a:ext cx="4568007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MX" sz="1200" dirty="0">
              <a:solidFill>
                <a:schemeClr val="bg1"/>
              </a:solidFill>
              <a:latin typeface="Soho Pro" panose="02040503030506020204" pitchFamily="18" charset="0"/>
            </a:endParaRPr>
          </a:p>
          <a:p>
            <a:r>
              <a:rPr lang="es-MX" dirty="0">
                <a:solidFill>
                  <a:schemeClr val="bg1"/>
                </a:solidFill>
                <a:latin typeface="Soho Pro" panose="02040503030506020204" pitchFamily="18" charset="0"/>
              </a:rPr>
              <a:t>María Angélica Sanhueza</a:t>
            </a:r>
          </a:p>
          <a:p>
            <a:r>
              <a:rPr lang="es-MX" dirty="0">
                <a:solidFill>
                  <a:schemeClr val="bg1"/>
                </a:solidFill>
                <a:latin typeface="Soho Pro" panose="02040503030506020204" pitchFamily="18" charset="0"/>
              </a:rPr>
              <a:t>Directora de AENOR para Sudamérica</a:t>
            </a:r>
          </a:p>
          <a:p>
            <a:endParaRPr lang="es-MX" sz="1200" dirty="0">
              <a:solidFill>
                <a:schemeClr val="bg1"/>
              </a:solidFill>
              <a:latin typeface="Soho Pro" panose="02040503030506020204" pitchFamily="18" charset="0"/>
            </a:endParaRPr>
          </a:p>
          <a:p>
            <a:r>
              <a:rPr lang="es-MX" sz="1100" dirty="0">
                <a:solidFill>
                  <a:schemeClr val="bg1"/>
                </a:solidFill>
                <a:latin typeface="Soho Pro" panose="02040503030506020204" pitchFamily="18" charset="0"/>
                <a:ea typeface="Source Sans Pro" panose="020B0503030403020204" pitchFamily="34" charset="0"/>
              </a:rPr>
              <a:t>Tel: +56 2 2499 9200 </a:t>
            </a:r>
          </a:p>
          <a:p>
            <a:r>
              <a:rPr lang="es-MX" sz="1100" dirty="0">
                <a:solidFill>
                  <a:schemeClr val="bg1"/>
                </a:solidFill>
                <a:latin typeface="Soho Pro" panose="02040503030506020204" pitchFamily="18" charset="0"/>
                <a:ea typeface="Source Sans Pro" panose="020B0503030403020204" pitchFamily="34" charset="0"/>
              </a:rPr>
              <a:t>masanhueza@aenor.com</a:t>
            </a:r>
          </a:p>
          <a:p>
            <a:r>
              <a:rPr lang="es-MX" sz="1100" dirty="0">
                <a:solidFill>
                  <a:schemeClr val="bg1"/>
                </a:solidFill>
                <a:latin typeface="Soho Pro" panose="02040503030506020204" pitchFamily="18" charset="0"/>
                <a:ea typeface="Source Sans Pro" panose="020B0503030403020204" pitchFamily="34" charset="0"/>
              </a:rPr>
              <a:t>www.aenorchile.com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EC3BB99A-9AD9-5131-5F8D-833837B9DF3B}"/>
              </a:ext>
            </a:extLst>
          </p:cNvPr>
          <p:cNvCxnSpPr/>
          <p:nvPr/>
        </p:nvCxnSpPr>
        <p:spPr>
          <a:xfrm>
            <a:off x="708817" y="4994125"/>
            <a:ext cx="0" cy="84296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upo 1">
            <a:extLst>
              <a:ext uri="{FF2B5EF4-FFF2-40B4-BE49-F238E27FC236}">
                <a16:creationId xmlns:a16="http://schemas.microsoft.com/office/drawing/2014/main" id="{A3380FFC-3774-F114-B9EF-42B00FDA086C}"/>
              </a:ext>
            </a:extLst>
          </p:cNvPr>
          <p:cNvGrpSpPr/>
          <p:nvPr/>
        </p:nvGrpSpPr>
        <p:grpSpPr>
          <a:xfrm rot="10800000">
            <a:off x="4122048" y="-89"/>
            <a:ext cx="2904545" cy="2903016"/>
            <a:chOff x="-1006275" y="1128"/>
            <a:chExt cx="3020110" cy="3019635"/>
          </a:xfrm>
        </p:grpSpPr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2C47304-6045-235C-29CA-0F7515DF9D16}"/>
                </a:ext>
              </a:extLst>
            </p:cNvPr>
            <p:cNvSpPr/>
            <p:nvPr/>
          </p:nvSpPr>
          <p:spPr>
            <a:xfrm>
              <a:off x="-2" y="1128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89000"/>
                  </a:srgbClr>
                </a:gs>
                <a:gs pos="100000">
                  <a:srgbClr val="D1DFE3">
                    <a:alpha val="31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64BE9AEF-B371-704B-8BD8-E15FD0652EE9}"/>
                </a:ext>
              </a:extLst>
            </p:cNvPr>
            <p:cNvSpPr/>
            <p:nvPr/>
          </p:nvSpPr>
          <p:spPr>
            <a:xfrm>
              <a:off x="1006914" y="1008657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74000"/>
                  </a:srgbClr>
                </a:gs>
                <a:gs pos="100000">
                  <a:srgbClr val="D1DFE3">
                    <a:shade val="100000"/>
                    <a:satMod val="115000"/>
                    <a:alpha val="36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18B338FE-85DF-84A9-3343-52A0C28C1CE7}"/>
                </a:ext>
              </a:extLst>
            </p:cNvPr>
            <p:cNvSpPr/>
            <p:nvPr/>
          </p:nvSpPr>
          <p:spPr>
            <a:xfrm>
              <a:off x="0" y="1006920"/>
              <a:ext cx="1006920" cy="1006920"/>
            </a:xfrm>
            <a:prstGeom prst="rect">
              <a:avLst/>
            </a:prstGeom>
            <a:gradFill flip="none" rotWithShape="1">
              <a:gsLst>
                <a:gs pos="0">
                  <a:srgbClr val="243678">
                    <a:alpha val="99000"/>
                  </a:srgbClr>
                </a:gs>
                <a:gs pos="50000">
                  <a:srgbClr val="243678">
                    <a:alpha val="69000"/>
                  </a:srgbClr>
                </a:gs>
                <a:gs pos="100000">
                  <a:srgbClr val="243678">
                    <a:alpha val="4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062B0DED-DD32-8EF1-8078-12AE1F801213}"/>
                </a:ext>
              </a:extLst>
            </p:cNvPr>
            <p:cNvSpPr/>
            <p:nvPr/>
          </p:nvSpPr>
          <p:spPr>
            <a:xfrm>
              <a:off x="-1006275" y="2013842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3D7DC3"/>
                </a:gs>
                <a:gs pos="50000">
                  <a:srgbClr val="3D7DC3">
                    <a:alpha val="88000"/>
                  </a:srgbClr>
                </a:gs>
                <a:gs pos="100000">
                  <a:srgbClr val="285484">
                    <a:alpha val="73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</p:grpSp>
    </p:spTree>
    <p:extLst>
      <p:ext uri="{BB962C8B-B14F-4D97-AF65-F5344CB8AC3E}">
        <p14:creationId xmlns:p14="http://schemas.microsoft.com/office/powerpoint/2010/main" val="384726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39C08F-1B33-7187-72C1-809C59AB7E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24">
            <a:extLst>
              <a:ext uri="{FF2B5EF4-FFF2-40B4-BE49-F238E27FC236}">
                <a16:creationId xmlns:a16="http://schemas.microsoft.com/office/drawing/2014/main" id="{0EC1BF37-4C79-7473-51E4-2F0DA59EE9D4}"/>
              </a:ext>
            </a:extLst>
          </p:cNvPr>
          <p:cNvSpPr/>
          <p:nvPr/>
        </p:nvSpPr>
        <p:spPr>
          <a:xfrm>
            <a:off x="10742676" y="6291071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D1EAC82C-1A0A-F35E-4F3D-E1FE24C6F351}"/>
              </a:ext>
            </a:extLst>
          </p:cNvPr>
          <p:cNvGrpSpPr/>
          <p:nvPr/>
        </p:nvGrpSpPr>
        <p:grpSpPr>
          <a:xfrm>
            <a:off x="11496132" y="0"/>
            <a:ext cx="695868" cy="692325"/>
            <a:chOff x="7984179" y="4906862"/>
            <a:chExt cx="990985" cy="985939"/>
          </a:xfrm>
        </p:grpSpPr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AD5FF632-9D4C-3FF9-B7DB-BD0B5A2FE931}"/>
                </a:ext>
              </a:extLst>
            </p:cNvPr>
            <p:cNvSpPr/>
            <p:nvPr/>
          </p:nvSpPr>
          <p:spPr>
            <a:xfrm>
              <a:off x="8472955" y="4906862"/>
              <a:ext cx="502209" cy="502209"/>
            </a:xfrm>
            <a:prstGeom prst="rect">
              <a:avLst/>
            </a:prstGeom>
            <a:solidFill>
              <a:srgbClr val="D1D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2DFA3497-FEA4-889C-20C1-4AE486296E60}"/>
                </a:ext>
              </a:extLst>
            </p:cNvPr>
            <p:cNvSpPr/>
            <p:nvPr/>
          </p:nvSpPr>
          <p:spPr>
            <a:xfrm>
              <a:off x="7984179" y="5404025"/>
              <a:ext cx="488776" cy="488776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pic>
        <p:nvPicPr>
          <p:cNvPr id="22" name="Gráfico 4">
            <a:extLst>
              <a:ext uri="{FF2B5EF4-FFF2-40B4-BE49-F238E27FC236}">
                <a16:creationId xmlns:a16="http://schemas.microsoft.com/office/drawing/2014/main" id="{CC9064BE-B618-EA21-55CA-705183CD0D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1982018" cy="636556"/>
          </a:xfrm>
          <a:prstGeom prst="rect">
            <a:avLst/>
          </a:prstGeom>
        </p:spPr>
      </p:pic>
      <p:pic>
        <p:nvPicPr>
          <p:cNvPr id="5" name="Imagen 4" descr="Un hombre surfeando en el mar&#10;&#10;El contenido generado por IA puede ser incorrecto.">
            <a:extLst>
              <a:ext uri="{FF2B5EF4-FFF2-40B4-BE49-F238E27FC236}">
                <a16:creationId xmlns:a16="http://schemas.microsoft.com/office/drawing/2014/main" id="{4E463344-15E8-0935-763C-2F3CCE975E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4789" y="1377108"/>
            <a:ext cx="12206789" cy="409881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D213400-995F-9469-D84D-3297F556CA9B}"/>
              </a:ext>
            </a:extLst>
          </p:cNvPr>
          <p:cNvSpPr txBox="1"/>
          <p:nvPr/>
        </p:nvSpPr>
        <p:spPr>
          <a:xfrm>
            <a:off x="151481" y="1626472"/>
            <a:ext cx="7273887" cy="867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MX" sz="3800" dirty="0">
                <a:solidFill>
                  <a:schemeClr val="bg1"/>
                </a:solidFill>
                <a:latin typeface="Soho Gothic Pro Medium" panose="020B06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NTAJAS</a:t>
            </a:r>
          </a:p>
        </p:txBody>
      </p:sp>
    </p:spTree>
    <p:extLst>
      <p:ext uri="{BB962C8B-B14F-4D97-AF65-F5344CB8AC3E}">
        <p14:creationId xmlns:p14="http://schemas.microsoft.com/office/powerpoint/2010/main" val="364371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234F06-1866-8E4C-57F0-7C86D30E0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24">
            <a:extLst>
              <a:ext uri="{FF2B5EF4-FFF2-40B4-BE49-F238E27FC236}">
                <a16:creationId xmlns:a16="http://schemas.microsoft.com/office/drawing/2014/main" id="{E720C726-BEBF-F33E-600B-0CA655F88896}"/>
              </a:ext>
            </a:extLst>
          </p:cNvPr>
          <p:cNvSpPr/>
          <p:nvPr/>
        </p:nvSpPr>
        <p:spPr>
          <a:xfrm>
            <a:off x="10742676" y="6291071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FFAB8D6A-BE78-9A5E-F671-450D2C103BC5}"/>
              </a:ext>
            </a:extLst>
          </p:cNvPr>
          <p:cNvGrpSpPr/>
          <p:nvPr/>
        </p:nvGrpSpPr>
        <p:grpSpPr>
          <a:xfrm>
            <a:off x="11496132" y="0"/>
            <a:ext cx="695868" cy="692325"/>
            <a:chOff x="7984179" y="4906862"/>
            <a:chExt cx="990985" cy="985939"/>
          </a:xfrm>
        </p:grpSpPr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9FA24050-86C0-FB47-4912-CD321B8A6A0B}"/>
                </a:ext>
              </a:extLst>
            </p:cNvPr>
            <p:cNvSpPr/>
            <p:nvPr/>
          </p:nvSpPr>
          <p:spPr>
            <a:xfrm>
              <a:off x="8472955" y="4906862"/>
              <a:ext cx="502209" cy="502209"/>
            </a:xfrm>
            <a:prstGeom prst="rect">
              <a:avLst/>
            </a:prstGeom>
            <a:solidFill>
              <a:srgbClr val="D1D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F57B45EB-6A4E-EAC0-EDC0-BB8295457126}"/>
                </a:ext>
              </a:extLst>
            </p:cNvPr>
            <p:cNvSpPr/>
            <p:nvPr/>
          </p:nvSpPr>
          <p:spPr>
            <a:xfrm>
              <a:off x="7984179" y="5404025"/>
              <a:ext cx="488776" cy="488776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pic>
        <p:nvPicPr>
          <p:cNvPr id="22" name="Gráfico 4">
            <a:extLst>
              <a:ext uri="{FF2B5EF4-FFF2-40B4-BE49-F238E27FC236}">
                <a16:creationId xmlns:a16="http://schemas.microsoft.com/office/drawing/2014/main" id="{1699BE04-CFF7-D51F-5FAE-ED3123F481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1982018" cy="636556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11ADC76A-C9AB-845E-0AAB-697E9827CF70}"/>
              </a:ext>
            </a:extLst>
          </p:cNvPr>
          <p:cNvSpPr/>
          <p:nvPr/>
        </p:nvSpPr>
        <p:spPr>
          <a:xfrm>
            <a:off x="-1" y="1041432"/>
            <a:ext cx="12192001" cy="2148747"/>
          </a:xfrm>
          <a:prstGeom prst="rect">
            <a:avLst/>
          </a:prstGeom>
          <a:solidFill>
            <a:srgbClr val="699B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MX" dirty="0"/>
          </a:p>
        </p:txBody>
      </p:sp>
      <p:sp>
        <p:nvSpPr>
          <p:cNvPr id="9" name="Flecha: cheurón 8">
            <a:extLst>
              <a:ext uri="{FF2B5EF4-FFF2-40B4-BE49-F238E27FC236}">
                <a16:creationId xmlns:a16="http://schemas.microsoft.com/office/drawing/2014/main" id="{252CDDA3-40FD-27C4-48C9-72C6F4F12031}"/>
              </a:ext>
            </a:extLst>
          </p:cNvPr>
          <p:cNvSpPr/>
          <p:nvPr/>
        </p:nvSpPr>
        <p:spPr>
          <a:xfrm>
            <a:off x="744746" y="2645241"/>
            <a:ext cx="1586429" cy="1089875"/>
          </a:xfrm>
          <a:prstGeom prst="chevron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5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" name="Flecha: cheurón 20">
            <a:extLst>
              <a:ext uri="{FF2B5EF4-FFF2-40B4-BE49-F238E27FC236}">
                <a16:creationId xmlns:a16="http://schemas.microsoft.com/office/drawing/2014/main" id="{BFAD229A-1972-CDED-6489-4C04C0269186}"/>
              </a:ext>
            </a:extLst>
          </p:cNvPr>
          <p:cNvSpPr/>
          <p:nvPr/>
        </p:nvSpPr>
        <p:spPr>
          <a:xfrm>
            <a:off x="6989474" y="2651791"/>
            <a:ext cx="1586429" cy="1089875"/>
          </a:xfrm>
          <a:prstGeom prst="chevron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5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3" name="Flecha: cheurón 22">
            <a:extLst>
              <a:ext uri="{FF2B5EF4-FFF2-40B4-BE49-F238E27FC236}">
                <a16:creationId xmlns:a16="http://schemas.microsoft.com/office/drawing/2014/main" id="{C6229380-7886-8848-0BB7-D0A7D25A0270}"/>
              </a:ext>
            </a:extLst>
          </p:cNvPr>
          <p:cNvSpPr/>
          <p:nvPr/>
        </p:nvSpPr>
        <p:spPr>
          <a:xfrm>
            <a:off x="3780195" y="2651791"/>
            <a:ext cx="1586429" cy="1089875"/>
          </a:xfrm>
          <a:prstGeom prst="chevron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5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Flecha: cheurón 25">
            <a:extLst>
              <a:ext uri="{FF2B5EF4-FFF2-40B4-BE49-F238E27FC236}">
                <a16:creationId xmlns:a16="http://schemas.microsoft.com/office/drawing/2014/main" id="{9D034665-0887-4BBF-FE1C-97F72F57AB7C}"/>
              </a:ext>
            </a:extLst>
          </p:cNvPr>
          <p:cNvSpPr/>
          <p:nvPr/>
        </p:nvSpPr>
        <p:spPr>
          <a:xfrm>
            <a:off x="9860825" y="2588964"/>
            <a:ext cx="1586429" cy="1089875"/>
          </a:xfrm>
          <a:prstGeom prst="chevron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5000" b="1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31" name="Imagen 30" descr="Interfaz de usuario gráfica, Texto, Aplicación&#10;&#10;El contenido generado por IA puede ser incorrecto.">
            <a:extLst>
              <a:ext uri="{FF2B5EF4-FFF2-40B4-BE49-F238E27FC236}">
                <a16:creationId xmlns:a16="http://schemas.microsoft.com/office/drawing/2014/main" id="{9052F042-CAB1-E50A-31BB-6A8968AB1F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729" y="3957715"/>
            <a:ext cx="2476846" cy="2181529"/>
          </a:xfrm>
          <a:prstGeom prst="rect">
            <a:avLst/>
          </a:prstGeom>
        </p:spPr>
      </p:pic>
      <p:pic>
        <p:nvPicPr>
          <p:cNvPr id="34" name="Imagen 33" descr="Interfaz de usuario gráfica, Texto, Aplicación&#10;&#10;El contenido generado por IA puede ser incorrecto.">
            <a:extLst>
              <a:ext uri="{FF2B5EF4-FFF2-40B4-BE49-F238E27FC236}">
                <a16:creationId xmlns:a16="http://schemas.microsoft.com/office/drawing/2014/main" id="{103B7C64-BC57-7087-5A14-20D72867BA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1526" y="3957715"/>
            <a:ext cx="2362530" cy="1952898"/>
          </a:xfrm>
          <a:prstGeom prst="rect">
            <a:avLst/>
          </a:prstGeom>
        </p:spPr>
      </p:pic>
      <p:pic>
        <p:nvPicPr>
          <p:cNvPr id="38" name="Imagen 37" descr="Texto&#10;&#10;El contenido generado por IA puede ser incorrecto.">
            <a:extLst>
              <a:ext uri="{FF2B5EF4-FFF2-40B4-BE49-F238E27FC236}">
                <a16:creationId xmlns:a16="http://schemas.microsoft.com/office/drawing/2014/main" id="{D869568A-77AB-7287-2655-B78EDB5983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2352" y="3995821"/>
            <a:ext cx="2638793" cy="1914792"/>
          </a:xfrm>
          <a:prstGeom prst="rect">
            <a:avLst/>
          </a:prstGeom>
        </p:spPr>
      </p:pic>
      <p:pic>
        <p:nvPicPr>
          <p:cNvPr id="46" name="Imagen 45" descr="Interfaz de usuario gráfica, Texto, Aplicación&#10;&#10;El contenido generado por IA puede ser incorrecto.">
            <a:extLst>
              <a:ext uri="{FF2B5EF4-FFF2-40B4-BE49-F238E27FC236}">
                <a16:creationId xmlns:a16="http://schemas.microsoft.com/office/drawing/2014/main" id="{6B070996-0D82-B34B-9FDF-5D974743A0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72145" y="3908480"/>
            <a:ext cx="2543530" cy="2152950"/>
          </a:xfrm>
          <a:prstGeom prst="rect">
            <a:avLst/>
          </a:prstGeom>
        </p:spPr>
      </p:pic>
      <p:sp>
        <p:nvSpPr>
          <p:cNvPr id="47" name="Título 1">
            <a:extLst>
              <a:ext uri="{FF2B5EF4-FFF2-40B4-BE49-F238E27FC236}">
                <a16:creationId xmlns:a16="http://schemas.microsoft.com/office/drawing/2014/main" id="{E69072CD-AFCD-1F9F-8B76-35D74E61BDA4}"/>
              </a:ext>
            </a:extLst>
          </p:cNvPr>
          <p:cNvSpPr txBox="1">
            <a:spLocks/>
          </p:cNvSpPr>
          <p:nvPr/>
        </p:nvSpPr>
        <p:spPr>
          <a:xfrm>
            <a:off x="384729" y="1041432"/>
            <a:ext cx="11630946" cy="22227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COMO ORGANIZACIÓN:</a:t>
            </a:r>
          </a:p>
          <a:p>
            <a:pPr>
              <a:lnSpc>
                <a:spcPct val="150000"/>
              </a:lnSpc>
            </a:pP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Construcción de Confianza Antes del Primer Contacto</a:t>
            </a:r>
            <a:b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</a:b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581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1" grpId="0" animBg="1"/>
      <p:bldP spid="23" grpId="0" animBg="1"/>
      <p:bldP spid="2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A31AE399-7B05-465E-45D0-21CB5B95A0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74"/>
          <a:stretch>
            <a:fillRect/>
          </a:stretch>
        </p:blipFill>
        <p:spPr bwMode="auto">
          <a:xfrm>
            <a:off x="0" y="0"/>
            <a:ext cx="5041801" cy="4342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ject 23">
            <a:extLst>
              <a:ext uri="{FF2B5EF4-FFF2-40B4-BE49-F238E27FC236}">
                <a16:creationId xmlns:a16="http://schemas.microsoft.com/office/drawing/2014/main" id="{2964DA15-7180-E135-75E4-66D1F0D7E001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570719" y="6431279"/>
            <a:ext cx="1063752" cy="234149"/>
          </a:xfrm>
          <a:prstGeom prst="rect">
            <a:avLst/>
          </a:prstGeom>
        </p:spPr>
      </p:pic>
      <p:sp>
        <p:nvSpPr>
          <p:cNvPr id="6" name="object 24">
            <a:extLst>
              <a:ext uri="{FF2B5EF4-FFF2-40B4-BE49-F238E27FC236}">
                <a16:creationId xmlns:a16="http://schemas.microsoft.com/office/drawing/2014/main" id="{D921FE50-5D94-BA52-7E2B-A921E6986289}"/>
              </a:ext>
            </a:extLst>
          </p:cNvPr>
          <p:cNvSpPr/>
          <p:nvPr/>
        </p:nvSpPr>
        <p:spPr>
          <a:xfrm>
            <a:off x="10742676" y="6291071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036BF394-2126-AC87-792F-217530F250ED}"/>
              </a:ext>
            </a:extLst>
          </p:cNvPr>
          <p:cNvSpPr/>
          <p:nvPr/>
        </p:nvSpPr>
        <p:spPr>
          <a:xfrm>
            <a:off x="1" y="4342605"/>
            <a:ext cx="5041800" cy="2515394"/>
          </a:xfrm>
          <a:custGeom>
            <a:avLst/>
            <a:gdLst/>
            <a:ahLst/>
            <a:cxnLst/>
            <a:rect l="l" t="t" r="r" b="b"/>
            <a:pathLst>
              <a:path w="5815965" h="2148840">
                <a:moveTo>
                  <a:pt x="5815584" y="0"/>
                </a:moveTo>
                <a:lnTo>
                  <a:pt x="0" y="0"/>
                </a:lnTo>
                <a:lnTo>
                  <a:pt x="0" y="2148840"/>
                </a:lnTo>
                <a:lnTo>
                  <a:pt x="5815584" y="2148840"/>
                </a:lnTo>
                <a:lnTo>
                  <a:pt x="5815584" y="0"/>
                </a:lnTo>
                <a:close/>
              </a:path>
            </a:pathLst>
          </a:custGeom>
          <a:solidFill>
            <a:srgbClr val="699BD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FC2F4CAC-1F28-76C7-CBCF-832E307E8813}"/>
              </a:ext>
            </a:extLst>
          </p:cNvPr>
          <p:cNvGrpSpPr/>
          <p:nvPr/>
        </p:nvGrpSpPr>
        <p:grpSpPr>
          <a:xfrm rot="16200000">
            <a:off x="2137256" y="2408799"/>
            <a:ext cx="2904545" cy="2903016"/>
            <a:chOff x="-1006275" y="1128"/>
            <a:chExt cx="3020110" cy="3019635"/>
          </a:xfrm>
        </p:grpSpPr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46016AAF-79EA-1428-077A-98825E524997}"/>
                </a:ext>
              </a:extLst>
            </p:cNvPr>
            <p:cNvSpPr/>
            <p:nvPr/>
          </p:nvSpPr>
          <p:spPr>
            <a:xfrm>
              <a:off x="-2" y="1128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89000"/>
                  </a:srgbClr>
                </a:gs>
                <a:gs pos="100000">
                  <a:srgbClr val="D1DFE3">
                    <a:alpha val="31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7AD83CAE-E668-2B53-DDEB-C745971AACF7}"/>
                </a:ext>
              </a:extLst>
            </p:cNvPr>
            <p:cNvSpPr/>
            <p:nvPr/>
          </p:nvSpPr>
          <p:spPr>
            <a:xfrm>
              <a:off x="1006914" y="1008657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74000"/>
                  </a:srgbClr>
                </a:gs>
                <a:gs pos="100000">
                  <a:srgbClr val="D1DFE3">
                    <a:shade val="100000"/>
                    <a:satMod val="115000"/>
                    <a:alpha val="36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80237A71-3ED2-F764-7EB8-B5ED0806F7A6}"/>
                </a:ext>
              </a:extLst>
            </p:cNvPr>
            <p:cNvSpPr/>
            <p:nvPr/>
          </p:nvSpPr>
          <p:spPr>
            <a:xfrm>
              <a:off x="0" y="1006920"/>
              <a:ext cx="1006920" cy="1006920"/>
            </a:xfrm>
            <a:prstGeom prst="rect">
              <a:avLst/>
            </a:prstGeom>
            <a:gradFill flip="none" rotWithShape="1">
              <a:gsLst>
                <a:gs pos="0">
                  <a:srgbClr val="243678">
                    <a:alpha val="99000"/>
                  </a:srgbClr>
                </a:gs>
                <a:gs pos="50000">
                  <a:srgbClr val="243678">
                    <a:alpha val="69000"/>
                  </a:srgbClr>
                </a:gs>
                <a:gs pos="100000">
                  <a:srgbClr val="243678">
                    <a:alpha val="4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BA18A1E8-FEE5-5C72-C6E3-9FA6D906625D}"/>
                </a:ext>
              </a:extLst>
            </p:cNvPr>
            <p:cNvSpPr/>
            <p:nvPr/>
          </p:nvSpPr>
          <p:spPr>
            <a:xfrm>
              <a:off x="-1006275" y="2013842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3D7DC3"/>
                </a:gs>
                <a:gs pos="50000">
                  <a:srgbClr val="3D7DC3">
                    <a:alpha val="88000"/>
                  </a:srgbClr>
                </a:gs>
                <a:gs pos="100000">
                  <a:srgbClr val="285484">
                    <a:alpha val="73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617439C-C0DB-9F8C-5993-398A20092736}"/>
              </a:ext>
            </a:extLst>
          </p:cNvPr>
          <p:cNvGrpSpPr/>
          <p:nvPr/>
        </p:nvGrpSpPr>
        <p:grpSpPr>
          <a:xfrm>
            <a:off x="11496132" y="0"/>
            <a:ext cx="695868" cy="692325"/>
            <a:chOff x="7984179" y="4906862"/>
            <a:chExt cx="990985" cy="985939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CD9B3C75-2C09-E9D3-74A8-8F7FCDB5428A}"/>
                </a:ext>
              </a:extLst>
            </p:cNvPr>
            <p:cNvSpPr/>
            <p:nvPr/>
          </p:nvSpPr>
          <p:spPr>
            <a:xfrm>
              <a:off x="8472955" y="4906862"/>
              <a:ext cx="502209" cy="502209"/>
            </a:xfrm>
            <a:prstGeom prst="rect">
              <a:avLst/>
            </a:prstGeom>
            <a:solidFill>
              <a:srgbClr val="D1D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9D4167E5-82EE-F20B-2848-C4D6FA79C3C6}"/>
                </a:ext>
              </a:extLst>
            </p:cNvPr>
            <p:cNvSpPr/>
            <p:nvPr/>
          </p:nvSpPr>
          <p:spPr>
            <a:xfrm>
              <a:off x="7984179" y="5404025"/>
              <a:ext cx="488776" cy="488776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pic>
        <p:nvPicPr>
          <p:cNvPr id="4" name="Gráfico 4">
            <a:extLst>
              <a:ext uri="{FF2B5EF4-FFF2-40B4-BE49-F238E27FC236}">
                <a16:creationId xmlns:a16="http://schemas.microsoft.com/office/drawing/2014/main" id="{D7675C3A-612C-092E-1CE4-F9EAACD785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42648" y="95124"/>
            <a:ext cx="1982018" cy="636556"/>
          </a:xfrm>
          <a:prstGeom prst="rect">
            <a:avLst/>
          </a:prstGeom>
        </p:spPr>
      </p:pic>
      <p:pic>
        <p:nvPicPr>
          <p:cNvPr id="8" name="Imagen 7" descr="Gráfico, Gráfico circular&#10;&#10;El contenido generado por IA puede ser incorrecto.">
            <a:extLst>
              <a:ext uri="{FF2B5EF4-FFF2-40B4-BE49-F238E27FC236}">
                <a16:creationId xmlns:a16="http://schemas.microsoft.com/office/drawing/2014/main" id="{32AE5413-5C0E-0CA9-670A-C008BA5D8D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80613" y="946136"/>
            <a:ext cx="6535062" cy="5106113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7B3C7880-4AA9-BEEA-C866-1A19699F6A34}"/>
              </a:ext>
            </a:extLst>
          </p:cNvPr>
          <p:cNvSpPr txBox="1">
            <a:spLocks/>
          </p:cNvSpPr>
          <p:nvPr/>
        </p:nvSpPr>
        <p:spPr>
          <a:xfrm>
            <a:off x="176325" y="4442640"/>
            <a:ext cx="4572861" cy="296145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Construcción de CONFIANZA en el MERCADO</a:t>
            </a:r>
            <a:b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</a:b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675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3823FB-533A-914A-FB67-F37A0E6F1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24">
            <a:extLst>
              <a:ext uri="{FF2B5EF4-FFF2-40B4-BE49-F238E27FC236}">
                <a16:creationId xmlns:a16="http://schemas.microsoft.com/office/drawing/2014/main" id="{D9F31C0A-B1F3-F82A-32D0-7CBA5DC8BED4}"/>
              </a:ext>
            </a:extLst>
          </p:cNvPr>
          <p:cNvSpPr/>
          <p:nvPr/>
        </p:nvSpPr>
        <p:spPr>
          <a:xfrm>
            <a:off x="10742676" y="6291071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73D1F3E9-09CC-F059-1439-43C41D8FAADE}"/>
              </a:ext>
            </a:extLst>
          </p:cNvPr>
          <p:cNvGrpSpPr/>
          <p:nvPr/>
        </p:nvGrpSpPr>
        <p:grpSpPr>
          <a:xfrm>
            <a:off x="11496132" y="0"/>
            <a:ext cx="695868" cy="692325"/>
            <a:chOff x="7984179" y="4906862"/>
            <a:chExt cx="990985" cy="985939"/>
          </a:xfrm>
        </p:grpSpPr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7CA2EB30-650A-5517-779C-806B24F05584}"/>
                </a:ext>
              </a:extLst>
            </p:cNvPr>
            <p:cNvSpPr/>
            <p:nvPr/>
          </p:nvSpPr>
          <p:spPr>
            <a:xfrm>
              <a:off x="8472955" y="4906862"/>
              <a:ext cx="502209" cy="502209"/>
            </a:xfrm>
            <a:prstGeom prst="rect">
              <a:avLst/>
            </a:prstGeom>
            <a:solidFill>
              <a:srgbClr val="D1D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9BA695E4-66CD-D2C1-1112-A46C0458F0D3}"/>
                </a:ext>
              </a:extLst>
            </p:cNvPr>
            <p:cNvSpPr/>
            <p:nvPr/>
          </p:nvSpPr>
          <p:spPr>
            <a:xfrm>
              <a:off x="7984179" y="5404025"/>
              <a:ext cx="488776" cy="488776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pic>
        <p:nvPicPr>
          <p:cNvPr id="22" name="Gráfico 4">
            <a:extLst>
              <a:ext uri="{FF2B5EF4-FFF2-40B4-BE49-F238E27FC236}">
                <a16:creationId xmlns:a16="http://schemas.microsoft.com/office/drawing/2014/main" id="{3B5EB670-63DD-D81F-C64E-81615FDBDD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1982018" cy="636556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6FD241FC-4D79-2ABF-2150-16DD1408D1F6}"/>
              </a:ext>
            </a:extLst>
          </p:cNvPr>
          <p:cNvSpPr/>
          <p:nvPr/>
        </p:nvSpPr>
        <p:spPr>
          <a:xfrm>
            <a:off x="-1" y="1041432"/>
            <a:ext cx="12192001" cy="2148747"/>
          </a:xfrm>
          <a:prstGeom prst="rect">
            <a:avLst/>
          </a:prstGeom>
          <a:solidFill>
            <a:srgbClr val="699B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MX" dirty="0"/>
          </a:p>
        </p:txBody>
      </p:sp>
      <p:sp>
        <p:nvSpPr>
          <p:cNvPr id="9" name="Flecha: cheurón 8">
            <a:extLst>
              <a:ext uri="{FF2B5EF4-FFF2-40B4-BE49-F238E27FC236}">
                <a16:creationId xmlns:a16="http://schemas.microsoft.com/office/drawing/2014/main" id="{4559D42C-7FBC-D820-1C06-D4FF1B482CC8}"/>
              </a:ext>
            </a:extLst>
          </p:cNvPr>
          <p:cNvSpPr/>
          <p:nvPr/>
        </p:nvSpPr>
        <p:spPr>
          <a:xfrm>
            <a:off x="744746" y="2645241"/>
            <a:ext cx="1586429" cy="1089875"/>
          </a:xfrm>
          <a:prstGeom prst="chevron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5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" name="Flecha: cheurón 20">
            <a:extLst>
              <a:ext uri="{FF2B5EF4-FFF2-40B4-BE49-F238E27FC236}">
                <a16:creationId xmlns:a16="http://schemas.microsoft.com/office/drawing/2014/main" id="{0D8F85DE-99F3-7495-4935-8216FAE246D9}"/>
              </a:ext>
            </a:extLst>
          </p:cNvPr>
          <p:cNvSpPr/>
          <p:nvPr/>
        </p:nvSpPr>
        <p:spPr>
          <a:xfrm>
            <a:off x="6989474" y="2651791"/>
            <a:ext cx="1586429" cy="1089875"/>
          </a:xfrm>
          <a:prstGeom prst="chevron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5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3" name="Flecha: cheurón 22">
            <a:extLst>
              <a:ext uri="{FF2B5EF4-FFF2-40B4-BE49-F238E27FC236}">
                <a16:creationId xmlns:a16="http://schemas.microsoft.com/office/drawing/2014/main" id="{FA8A43EB-AECE-E262-EB12-F58D3E9F7BA0}"/>
              </a:ext>
            </a:extLst>
          </p:cNvPr>
          <p:cNvSpPr/>
          <p:nvPr/>
        </p:nvSpPr>
        <p:spPr>
          <a:xfrm>
            <a:off x="3780195" y="2651791"/>
            <a:ext cx="1586429" cy="1089875"/>
          </a:xfrm>
          <a:prstGeom prst="chevron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5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Flecha: cheurón 25">
            <a:extLst>
              <a:ext uri="{FF2B5EF4-FFF2-40B4-BE49-F238E27FC236}">
                <a16:creationId xmlns:a16="http://schemas.microsoft.com/office/drawing/2014/main" id="{82BD69B4-7C19-6E1B-CA62-6C08ECE309CC}"/>
              </a:ext>
            </a:extLst>
          </p:cNvPr>
          <p:cNvSpPr/>
          <p:nvPr/>
        </p:nvSpPr>
        <p:spPr>
          <a:xfrm>
            <a:off x="9860825" y="2588964"/>
            <a:ext cx="1586429" cy="1089875"/>
          </a:xfrm>
          <a:prstGeom prst="chevron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5000" b="1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4" name="Imagen 3" descr="Interfaz de usuario gráfica, Texto&#10;&#10;El contenido generado por IA puede ser incorrecto.">
            <a:extLst>
              <a:ext uri="{FF2B5EF4-FFF2-40B4-BE49-F238E27FC236}">
                <a16:creationId xmlns:a16="http://schemas.microsoft.com/office/drawing/2014/main" id="{52D99CE6-BE06-D3ED-FA1B-0507D1F454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319" y="3996403"/>
            <a:ext cx="2534004" cy="1971950"/>
          </a:xfrm>
          <a:prstGeom prst="rect">
            <a:avLst/>
          </a:prstGeom>
        </p:spPr>
      </p:pic>
      <p:pic>
        <p:nvPicPr>
          <p:cNvPr id="6" name="Imagen 5" descr="Interfaz de usuario gráfica, Texto, Aplicación&#10;&#10;El contenido generado por IA puede ser incorrecto.">
            <a:extLst>
              <a:ext uri="{FF2B5EF4-FFF2-40B4-BE49-F238E27FC236}">
                <a16:creationId xmlns:a16="http://schemas.microsoft.com/office/drawing/2014/main" id="{BC36815E-0D01-D214-2B15-63B3AF39C1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7206" y="4042736"/>
            <a:ext cx="2638793" cy="2095792"/>
          </a:xfrm>
          <a:prstGeom prst="rect">
            <a:avLst/>
          </a:prstGeom>
        </p:spPr>
      </p:pic>
      <p:pic>
        <p:nvPicPr>
          <p:cNvPr id="11" name="Imagen 10" descr="Interfaz de usuario gráfica, Texto, Aplicación&#10;&#10;El contenido generado por IA puede ser incorrecto.">
            <a:extLst>
              <a:ext uri="{FF2B5EF4-FFF2-40B4-BE49-F238E27FC236}">
                <a16:creationId xmlns:a16="http://schemas.microsoft.com/office/drawing/2014/main" id="{3D127432-6440-B77B-A8C1-2F62988BCE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14" y="4156457"/>
            <a:ext cx="2800741" cy="2076740"/>
          </a:xfrm>
          <a:prstGeom prst="rect">
            <a:avLst/>
          </a:prstGeom>
        </p:spPr>
      </p:pic>
      <p:pic>
        <p:nvPicPr>
          <p:cNvPr id="13" name="Imagen 12" descr="Interfaz de usuario gráfica, Texto, Aplicación&#10;&#10;El contenido generado por IA puede ser incorrecto.">
            <a:extLst>
              <a:ext uri="{FF2B5EF4-FFF2-40B4-BE49-F238E27FC236}">
                <a16:creationId xmlns:a16="http://schemas.microsoft.com/office/drawing/2014/main" id="{99EB3FAD-C491-3C5C-B1CA-1F345F74C7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43452" y="4165983"/>
            <a:ext cx="2495898" cy="2057687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A2C5741F-5893-19AD-CD3D-2D5F8A81EEAA}"/>
              </a:ext>
            </a:extLst>
          </p:cNvPr>
          <p:cNvSpPr txBox="1">
            <a:spLocks/>
          </p:cNvSpPr>
          <p:nvPr/>
        </p:nvSpPr>
        <p:spPr>
          <a:xfrm>
            <a:off x="384729" y="1041432"/>
            <a:ext cx="11630946" cy="22227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COMO PROFESIONAL:</a:t>
            </a:r>
          </a:p>
          <a:p>
            <a:pPr>
              <a:lnSpc>
                <a:spcPct val="150000"/>
              </a:lnSpc>
            </a:pP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Mejora la credibilidad</a:t>
            </a:r>
            <a:b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</a:br>
            <a:r>
              <a:rPr lang="es-ES" sz="3200" dirty="0">
                <a:solidFill>
                  <a:schemeClr val="bg1"/>
                </a:solidFill>
                <a:latin typeface="Soho Gothic Pro Medium" panose="020B0603030504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7038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1" grpId="0" animBg="1"/>
      <p:bldP spid="23" grpId="0" animBg="1"/>
      <p:bldP spid="2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0805EF-D7B2-33B8-8941-6A2FAD3E5E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1909877E-4357-3D62-2DA2-72B1B99699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65" r="18068"/>
          <a:stretch>
            <a:fillRect/>
          </a:stretch>
        </p:blipFill>
        <p:spPr bwMode="auto">
          <a:xfrm>
            <a:off x="6623157" y="0"/>
            <a:ext cx="556884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8" name="Título 1">
            <a:extLst>
              <a:ext uri="{FF2B5EF4-FFF2-40B4-BE49-F238E27FC236}">
                <a16:creationId xmlns:a16="http://schemas.microsoft.com/office/drawing/2014/main" id="{E654B270-248F-3864-B6EA-45410F7ACAF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72209" y="809619"/>
            <a:ext cx="10972800" cy="1143000"/>
          </a:xfrm>
          <a:prstGeom prst="rect">
            <a:avLst/>
          </a:prstGeom>
        </p:spPr>
        <p:txBody>
          <a:bodyPr vert="horz" wrap="square" lIns="81636" tIns="40818" rIns="81636" bIns="40818" rtlCol="0" anchor="ctr">
            <a:normAutofit/>
          </a:bodyPr>
          <a:lstStyle>
            <a:lvl1pPr algn="ctr" defTabSz="408181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_tradnl" sz="2800" dirty="0">
                <a:solidFill>
                  <a:srgbClr val="2359A2"/>
                </a:solidFill>
                <a:latin typeface="Soho Gothic Pro Medium" panose="020B0603030504020204" pitchFamily="34" charset="0"/>
              </a:rPr>
              <a:t>¿Qué gano como Profesional?</a:t>
            </a:r>
            <a:endParaRPr lang="es-ES" sz="2800" dirty="0">
              <a:solidFill>
                <a:srgbClr val="2359A2"/>
              </a:solidFill>
              <a:latin typeface="Soho Gothic Pro Medium" panose="020B0603030504020204" pitchFamily="34" charset="0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987CCAA6-E831-11D6-243F-635847E809D4}"/>
              </a:ext>
            </a:extLst>
          </p:cNvPr>
          <p:cNvGrpSpPr/>
          <p:nvPr/>
        </p:nvGrpSpPr>
        <p:grpSpPr>
          <a:xfrm rot="5400000">
            <a:off x="5653928" y="765"/>
            <a:ext cx="2904545" cy="2903016"/>
            <a:chOff x="-1006275" y="1128"/>
            <a:chExt cx="3020110" cy="3019635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A8FE0E51-895C-DE33-68E8-87CE41E6CC26}"/>
                </a:ext>
              </a:extLst>
            </p:cNvPr>
            <p:cNvSpPr/>
            <p:nvPr/>
          </p:nvSpPr>
          <p:spPr>
            <a:xfrm>
              <a:off x="-2" y="1128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89000"/>
                  </a:srgbClr>
                </a:gs>
                <a:gs pos="100000">
                  <a:srgbClr val="D1DFE3">
                    <a:alpha val="31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36C4D1B5-4904-4E89-111C-AB4607B6FBAF}"/>
                </a:ext>
              </a:extLst>
            </p:cNvPr>
            <p:cNvSpPr/>
            <p:nvPr/>
          </p:nvSpPr>
          <p:spPr>
            <a:xfrm>
              <a:off x="1006914" y="1008657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D1DFE3"/>
                </a:gs>
                <a:gs pos="50000">
                  <a:srgbClr val="D1DFE3">
                    <a:alpha val="74000"/>
                  </a:srgbClr>
                </a:gs>
                <a:gs pos="100000">
                  <a:srgbClr val="D1DFE3">
                    <a:shade val="100000"/>
                    <a:satMod val="115000"/>
                    <a:alpha val="36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AF083C73-CE3F-E6EB-58A6-E9B634F9CF05}"/>
                </a:ext>
              </a:extLst>
            </p:cNvPr>
            <p:cNvSpPr/>
            <p:nvPr/>
          </p:nvSpPr>
          <p:spPr>
            <a:xfrm>
              <a:off x="0" y="1006920"/>
              <a:ext cx="1006920" cy="1006920"/>
            </a:xfrm>
            <a:prstGeom prst="rect">
              <a:avLst/>
            </a:prstGeom>
            <a:gradFill flip="none" rotWithShape="1">
              <a:gsLst>
                <a:gs pos="0">
                  <a:srgbClr val="243678">
                    <a:alpha val="99000"/>
                  </a:srgbClr>
                </a:gs>
                <a:gs pos="50000">
                  <a:srgbClr val="243678">
                    <a:alpha val="69000"/>
                  </a:srgbClr>
                </a:gs>
                <a:gs pos="100000">
                  <a:srgbClr val="243678">
                    <a:alpha val="4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36487904-1DF4-DC95-7188-5BD5BB12BB90}"/>
                </a:ext>
              </a:extLst>
            </p:cNvPr>
            <p:cNvSpPr/>
            <p:nvPr/>
          </p:nvSpPr>
          <p:spPr>
            <a:xfrm>
              <a:off x="-1006275" y="2013842"/>
              <a:ext cx="1006921" cy="1006921"/>
            </a:xfrm>
            <a:prstGeom prst="rect">
              <a:avLst/>
            </a:prstGeom>
            <a:gradFill flip="none" rotWithShape="1">
              <a:gsLst>
                <a:gs pos="0">
                  <a:srgbClr val="3D7DC3"/>
                </a:gs>
                <a:gs pos="50000">
                  <a:srgbClr val="3D7DC3">
                    <a:alpha val="88000"/>
                  </a:srgbClr>
                </a:gs>
                <a:gs pos="100000">
                  <a:srgbClr val="285484">
                    <a:alpha val="73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dirty="0"/>
            </a:p>
          </p:txBody>
        </p:sp>
      </p:grpSp>
      <p:sp>
        <p:nvSpPr>
          <p:cNvPr id="23" name="object 24">
            <a:extLst>
              <a:ext uri="{FF2B5EF4-FFF2-40B4-BE49-F238E27FC236}">
                <a16:creationId xmlns:a16="http://schemas.microsoft.com/office/drawing/2014/main" id="{7F563C6D-4325-B1B7-F033-F37BA42767DC}"/>
              </a:ext>
            </a:extLst>
          </p:cNvPr>
          <p:cNvSpPr/>
          <p:nvPr/>
        </p:nvSpPr>
        <p:spPr>
          <a:xfrm>
            <a:off x="1396658" y="6304847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Gráfico 4">
            <a:extLst>
              <a:ext uri="{FF2B5EF4-FFF2-40B4-BE49-F238E27FC236}">
                <a16:creationId xmlns:a16="http://schemas.microsoft.com/office/drawing/2014/main" id="{FE48F5A6-98BA-E92B-D22A-6203F05C20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1820214" cy="584590"/>
          </a:xfrm>
          <a:prstGeom prst="rect">
            <a:avLst/>
          </a:prstGeom>
        </p:spPr>
      </p:pic>
      <p:pic>
        <p:nvPicPr>
          <p:cNvPr id="17" name="Imagen 16" descr="Gráfico&#10;&#10;El contenido generado por IA puede ser incorrecto.">
            <a:extLst>
              <a:ext uri="{FF2B5EF4-FFF2-40B4-BE49-F238E27FC236}">
                <a16:creationId xmlns:a16="http://schemas.microsoft.com/office/drawing/2014/main" id="{5CD0F585-43E7-9283-F046-83AB82EFAE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538" y="1952619"/>
            <a:ext cx="5723792" cy="3916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63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55426D-FDEE-6628-9B6B-0FF38A344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24">
            <a:extLst>
              <a:ext uri="{FF2B5EF4-FFF2-40B4-BE49-F238E27FC236}">
                <a16:creationId xmlns:a16="http://schemas.microsoft.com/office/drawing/2014/main" id="{58DF0703-BF14-C26F-4D85-0FD887EC64A7}"/>
              </a:ext>
            </a:extLst>
          </p:cNvPr>
          <p:cNvSpPr/>
          <p:nvPr/>
        </p:nvSpPr>
        <p:spPr>
          <a:xfrm>
            <a:off x="10742676" y="6291071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D875065D-CF82-76CD-9393-56A857D3E6D4}"/>
              </a:ext>
            </a:extLst>
          </p:cNvPr>
          <p:cNvGrpSpPr/>
          <p:nvPr/>
        </p:nvGrpSpPr>
        <p:grpSpPr>
          <a:xfrm>
            <a:off x="11496132" y="0"/>
            <a:ext cx="695868" cy="692325"/>
            <a:chOff x="7984179" y="4906862"/>
            <a:chExt cx="990985" cy="985939"/>
          </a:xfrm>
        </p:grpSpPr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007AD27D-5B42-B8B3-67BC-9E11CF523842}"/>
                </a:ext>
              </a:extLst>
            </p:cNvPr>
            <p:cNvSpPr/>
            <p:nvPr/>
          </p:nvSpPr>
          <p:spPr>
            <a:xfrm>
              <a:off x="8472955" y="4906862"/>
              <a:ext cx="502209" cy="502209"/>
            </a:xfrm>
            <a:prstGeom prst="rect">
              <a:avLst/>
            </a:prstGeom>
            <a:solidFill>
              <a:srgbClr val="D1D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2E53A0B2-CC2C-DDE8-2C94-83D8F9D4B299}"/>
                </a:ext>
              </a:extLst>
            </p:cNvPr>
            <p:cNvSpPr/>
            <p:nvPr/>
          </p:nvSpPr>
          <p:spPr>
            <a:xfrm>
              <a:off x="7984179" y="5404025"/>
              <a:ext cx="488776" cy="488776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pic>
        <p:nvPicPr>
          <p:cNvPr id="22" name="Gráfico 4">
            <a:extLst>
              <a:ext uri="{FF2B5EF4-FFF2-40B4-BE49-F238E27FC236}">
                <a16:creationId xmlns:a16="http://schemas.microsoft.com/office/drawing/2014/main" id="{3F38CE01-4C36-6AD8-38C8-069C8F39E3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1982018" cy="636556"/>
          </a:xfrm>
          <a:prstGeom prst="rect">
            <a:avLst/>
          </a:prstGeom>
        </p:spPr>
      </p:pic>
      <p:pic>
        <p:nvPicPr>
          <p:cNvPr id="5" name="Imagen 4" descr="Un hombre surfeando en el mar&#10;&#10;El contenido generado por IA puede ser incorrecto.">
            <a:extLst>
              <a:ext uri="{FF2B5EF4-FFF2-40B4-BE49-F238E27FC236}">
                <a16:creationId xmlns:a16="http://schemas.microsoft.com/office/drawing/2014/main" id="{09D59CFE-09C2-3860-A492-BFA4A04FB6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1382074"/>
            <a:ext cx="12192000" cy="4093851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5CFB11C-B72B-E32C-A089-D7F3508DBD10}"/>
              </a:ext>
            </a:extLst>
          </p:cNvPr>
          <p:cNvSpPr txBox="1"/>
          <p:nvPr/>
        </p:nvSpPr>
        <p:spPr>
          <a:xfrm>
            <a:off x="151481" y="1626472"/>
            <a:ext cx="7273887" cy="867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MX" sz="3800" dirty="0">
                <a:solidFill>
                  <a:schemeClr val="bg1"/>
                </a:solidFill>
                <a:latin typeface="Soho Gothic Pro Medium" panose="020B06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O</a:t>
            </a:r>
          </a:p>
        </p:txBody>
      </p:sp>
    </p:spTree>
    <p:extLst>
      <p:ext uri="{BB962C8B-B14F-4D97-AF65-F5344CB8AC3E}">
        <p14:creationId xmlns:p14="http://schemas.microsoft.com/office/powerpoint/2010/main" val="377737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4B5D3-48B6-2C03-4B21-DCF80E6990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5E383B7B-274E-61F1-5363-AB2790A22D00}"/>
              </a:ext>
            </a:extLst>
          </p:cNvPr>
          <p:cNvSpPr/>
          <p:nvPr/>
        </p:nvSpPr>
        <p:spPr>
          <a:xfrm>
            <a:off x="0" y="3238567"/>
            <a:ext cx="12192000" cy="1917328"/>
          </a:xfrm>
          <a:prstGeom prst="rect">
            <a:avLst/>
          </a:prstGeom>
          <a:solidFill>
            <a:srgbClr val="699B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MX" dirty="0"/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406C440F-A510-CE00-D307-68038DB04329}"/>
              </a:ext>
            </a:extLst>
          </p:cNvPr>
          <p:cNvSpPr txBox="1"/>
          <p:nvPr/>
        </p:nvSpPr>
        <p:spPr>
          <a:xfrm>
            <a:off x="176270" y="412090"/>
            <a:ext cx="1089898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s-MX" sz="2800" dirty="0">
                <a:solidFill>
                  <a:srgbClr val="0060B7"/>
                </a:solidFill>
                <a:latin typeface="Soho Gothic Pro Medium" panose="020B06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agen de empresa responsable ante la sociedad y los consumidores.</a:t>
            </a:r>
            <a:endParaRPr lang="es-MX" sz="2000" dirty="0">
              <a:solidFill>
                <a:srgbClr val="0060B7"/>
              </a:solidFill>
              <a:effectLst/>
              <a:latin typeface="Soho Gothic Pro Medium" panose="020B0603030504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2" name="Imagen 14" descr="Logotipo&#10;&#10;Descripción generada automáticamente">
            <a:extLst>
              <a:ext uri="{FF2B5EF4-FFF2-40B4-BE49-F238E27FC236}">
                <a16:creationId xmlns:a16="http://schemas.microsoft.com/office/drawing/2014/main" id="{0E05F834-DD2C-1103-ED26-CD2CAEE0F1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b="28952"/>
          <a:stretch>
            <a:fillRect/>
          </a:stretch>
        </p:blipFill>
        <p:spPr>
          <a:xfrm>
            <a:off x="9570634" y="6432029"/>
            <a:ext cx="1063670" cy="23320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Imagen 11" descr="Interfaz de usuario gráfica, Texto&#10;&#10;El contenido generado por IA puede ser incorrecto.">
            <a:extLst>
              <a:ext uri="{FF2B5EF4-FFF2-40B4-BE49-F238E27FC236}">
                <a16:creationId xmlns:a16="http://schemas.microsoft.com/office/drawing/2014/main" id="{3AAC2E53-1CFB-9F05-8925-79196B67C7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885035"/>
            <a:ext cx="11666864" cy="2083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30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EBADB-C91C-F63D-4059-40F0BCB438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24">
            <a:extLst>
              <a:ext uri="{FF2B5EF4-FFF2-40B4-BE49-F238E27FC236}">
                <a16:creationId xmlns:a16="http://schemas.microsoft.com/office/drawing/2014/main" id="{2D632E04-13EC-F152-13B8-A9BFB7180A8D}"/>
              </a:ext>
            </a:extLst>
          </p:cNvPr>
          <p:cNvSpPr/>
          <p:nvPr/>
        </p:nvSpPr>
        <p:spPr>
          <a:xfrm>
            <a:off x="10742676" y="6291071"/>
            <a:ext cx="0" cy="471805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39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95C33A8E-6D3C-17A1-1695-9BAC6CCB45BD}"/>
              </a:ext>
            </a:extLst>
          </p:cNvPr>
          <p:cNvGrpSpPr/>
          <p:nvPr/>
        </p:nvGrpSpPr>
        <p:grpSpPr>
          <a:xfrm>
            <a:off x="11496132" y="0"/>
            <a:ext cx="695868" cy="692325"/>
            <a:chOff x="7984179" y="4906862"/>
            <a:chExt cx="990985" cy="985939"/>
          </a:xfrm>
        </p:grpSpPr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51F7FABB-3DDA-1864-00CA-011207311C33}"/>
                </a:ext>
              </a:extLst>
            </p:cNvPr>
            <p:cNvSpPr/>
            <p:nvPr/>
          </p:nvSpPr>
          <p:spPr>
            <a:xfrm>
              <a:off x="8472955" y="4906862"/>
              <a:ext cx="502209" cy="502209"/>
            </a:xfrm>
            <a:prstGeom prst="rect">
              <a:avLst/>
            </a:prstGeom>
            <a:solidFill>
              <a:srgbClr val="D1D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EEF5E402-2DB7-DBF5-EEA2-2EFC395EDDB1}"/>
                </a:ext>
              </a:extLst>
            </p:cNvPr>
            <p:cNvSpPr/>
            <p:nvPr/>
          </p:nvSpPr>
          <p:spPr>
            <a:xfrm>
              <a:off x="7984179" y="5404025"/>
              <a:ext cx="488776" cy="488776"/>
            </a:xfrm>
            <a:prstGeom prst="rect">
              <a:avLst/>
            </a:prstGeom>
            <a:solidFill>
              <a:srgbClr val="2359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pic>
        <p:nvPicPr>
          <p:cNvPr id="22" name="Gráfico 4">
            <a:extLst>
              <a:ext uri="{FF2B5EF4-FFF2-40B4-BE49-F238E27FC236}">
                <a16:creationId xmlns:a16="http://schemas.microsoft.com/office/drawing/2014/main" id="{09A7FD3D-077E-CCDD-5BE9-96EFAA9502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23" y="55769"/>
            <a:ext cx="1982018" cy="636556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3744617F-6875-A275-2324-2E4FA03A5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461936"/>
            <a:ext cx="12195661" cy="2236422"/>
          </a:xfrm>
          <a:prstGeom prst="rect">
            <a:avLst/>
          </a:prstGeom>
        </p:spPr>
      </p:pic>
      <p:pic>
        <p:nvPicPr>
          <p:cNvPr id="7" name="Imagen 6" descr="Texto&#10;&#10;El contenido generado por IA puede ser incorrecto.">
            <a:extLst>
              <a:ext uri="{FF2B5EF4-FFF2-40B4-BE49-F238E27FC236}">
                <a16:creationId xmlns:a16="http://schemas.microsoft.com/office/drawing/2014/main" id="{CB532AB6-8525-1F68-634A-41B7AA29C0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392" y="2459515"/>
            <a:ext cx="5002191" cy="1297974"/>
          </a:xfrm>
          <a:prstGeom prst="rect">
            <a:avLst/>
          </a:prstGeom>
        </p:spPr>
      </p:pic>
      <p:pic>
        <p:nvPicPr>
          <p:cNvPr id="9" name="Imagen 8" descr="Texto&#10;&#10;El contenido generado por IA puede ser incorrecto.">
            <a:extLst>
              <a:ext uri="{FF2B5EF4-FFF2-40B4-BE49-F238E27FC236}">
                <a16:creationId xmlns:a16="http://schemas.microsoft.com/office/drawing/2014/main" id="{132BB480-91DC-5BB8-8A5A-03FA24A313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6246" y="3402805"/>
            <a:ext cx="4862559" cy="1297974"/>
          </a:xfrm>
          <a:prstGeom prst="rect">
            <a:avLst/>
          </a:prstGeom>
        </p:spPr>
      </p:pic>
      <p:pic>
        <p:nvPicPr>
          <p:cNvPr id="11" name="Imagen 10" descr="Interfaz de usuario gráfica, Texto&#10;&#10;El contenido generado por IA puede ser incorrecto.">
            <a:extLst>
              <a:ext uri="{FF2B5EF4-FFF2-40B4-BE49-F238E27FC236}">
                <a16:creationId xmlns:a16="http://schemas.microsoft.com/office/drawing/2014/main" id="{9C8EA84D-BDD5-B110-A75F-1682BBC348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24099" y="4240068"/>
            <a:ext cx="4667901" cy="1343212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A24B3168-38A1-07D1-6147-CD3947743B7D}"/>
              </a:ext>
            </a:extLst>
          </p:cNvPr>
          <p:cNvSpPr txBox="1"/>
          <p:nvPr/>
        </p:nvSpPr>
        <p:spPr>
          <a:xfrm>
            <a:off x="272392" y="1198760"/>
            <a:ext cx="116472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s-MX" sz="2800" kern="0" dirty="0">
                <a:solidFill>
                  <a:srgbClr val="2359A2"/>
                </a:solidFill>
                <a:latin typeface="Soho Gothic Pro Medium" panose="020B06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racción y retención de talento</a:t>
            </a:r>
            <a:endParaRPr lang="es-MX" sz="3000" kern="0" dirty="0">
              <a:solidFill>
                <a:srgbClr val="2359A2"/>
              </a:solidFill>
              <a:latin typeface="Soho Gothic Pro Medium" panose="020B0603030504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64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AENOR">
      <a:dk1>
        <a:sysClr val="windowText" lastClr="000000"/>
      </a:dk1>
      <a:lt1>
        <a:sysClr val="window" lastClr="FFFFFF"/>
      </a:lt1>
      <a:dk2>
        <a:srgbClr val="3C3C3B"/>
      </a:dk2>
      <a:lt2>
        <a:srgbClr val="4F607C"/>
      </a:lt2>
      <a:accent1>
        <a:srgbClr val="8AA0B1"/>
      </a:accent1>
      <a:accent2>
        <a:srgbClr val="D0E0E4"/>
      </a:accent2>
      <a:accent3>
        <a:srgbClr val="F5F5F5"/>
      </a:accent3>
      <a:accent4>
        <a:srgbClr val="29337F"/>
      </a:accent4>
      <a:accent5>
        <a:srgbClr val="1F57A3"/>
      </a:accent5>
      <a:accent6>
        <a:srgbClr val="6A9BD3"/>
      </a:accent6>
      <a:hlink>
        <a:srgbClr val="29337F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Personalizar 2">
      <a:dk1>
        <a:srgbClr val="0084AD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84AD"/>
      </a:hlink>
      <a:folHlink>
        <a:srgbClr val="0084AD"/>
      </a:folHlink>
    </a:clrScheme>
    <a:fontScheme name="Aspecto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6FD6805F2DF6E4DA2E58BBB13EE3876" ma:contentTypeVersion="15" ma:contentTypeDescription="Crear nuevo documento." ma:contentTypeScope="" ma:versionID="719752faff2d836aee4e7fa4472cd469">
  <xsd:schema xmlns:xsd="http://www.w3.org/2001/XMLSchema" xmlns:xs="http://www.w3.org/2001/XMLSchema" xmlns:p="http://schemas.microsoft.com/office/2006/metadata/properties" xmlns:ns2="869c5f84-8864-4883-8f31-d11323ad99a3" xmlns:ns3="2cad2de3-3717-4a78-84a9-8101c7571de0" targetNamespace="http://schemas.microsoft.com/office/2006/metadata/properties" ma:root="true" ma:fieldsID="c678835cd69726ce08c3aa7a9539fee0" ns2:_="" ns3:_="">
    <xsd:import namespace="869c5f84-8864-4883-8f31-d11323ad99a3"/>
    <xsd:import namespace="2cad2de3-3717-4a78-84a9-8101c7571d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9c5f84-8864-4883-8f31-d11323ad99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51800dd-f53a-43a5-a698-f470e59606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ad2de3-3717-4a78-84a9-8101c7571de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69c5f84-8864-4883-8f31-d11323ad99a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BE7F70-7226-42A9-8AA8-4798B81D68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9c5f84-8864-4883-8f31-d11323ad99a3"/>
    <ds:schemaRef ds:uri="2cad2de3-3717-4a78-84a9-8101c7571d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D78CBAE-6562-4EDC-BC04-33083DD87195}">
  <ds:schemaRefs>
    <ds:schemaRef ds:uri="086c0fb6-0220-40e6-9756-11a378825ad4"/>
    <ds:schemaRef ds:uri="http://purl.org/dc/dcmitype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b78351e1-14c7-4d68-9839-bc328d0ac36b"/>
    <ds:schemaRef ds:uri="http://purl.org/dc/elements/1.1/"/>
    <ds:schemaRef ds:uri="869c5f84-8864-4883-8f31-d11323ad99a3"/>
  </ds:schemaRefs>
</ds:datastoreItem>
</file>

<file path=customXml/itemProps3.xml><?xml version="1.0" encoding="utf-8"?>
<ds:datastoreItem xmlns:ds="http://schemas.openxmlformats.org/officeDocument/2006/customXml" ds:itemID="{8ACF64CF-5E28-49C8-AA23-BCB3CF4CDD1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b7d496d2-000f-45f3-9009-092c46fa1887}" enabled="0" method="" siteId="{b7d496d2-000f-45f3-9009-092c46fa188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479</TotalTime>
  <Words>250</Words>
  <Application>Microsoft Office PowerPoint</Application>
  <PresentationFormat>Panorámica</PresentationFormat>
  <Paragraphs>50</Paragraphs>
  <Slides>13</Slides>
  <Notes>13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4" baseType="lpstr">
      <vt:lpstr>.Lucida Grande UI Regular</vt:lpstr>
      <vt:lpstr>Arial</vt:lpstr>
      <vt:lpstr>Calibri</vt:lpstr>
      <vt:lpstr>Soho Gothic Pro</vt:lpstr>
      <vt:lpstr>Soho Gothic Pro Medium</vt:lpstr>
      <vt:lpstr>Soho Pro</vt:lpstr>
      <vt:lpstr>Verdana</vt:lpstr>
      <vt:lpstr>Wingdings</vt:lpstr>
      <vt:lpstr>Tema de Office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¿Qué gano como Profesional?</vt:lpstr>
      <vt:lpstr>Presentación de PowerPoint</vt:lpstr>
      <vt:lpstr>Presentación de PowerPoint</vt:lpstr>
      <vt:lpstr>Presentación de PowerPoint</vt:lpstr>
      <vt:lpstr>Excelencia y Experiencia  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ía Fontán</dc:creator>
  <cp:lastModifiedBy>María Angélica Sanhueza Morales</cp:lastModifiedBy>
  <cp:revision>263</cp:revision>
  <cp:lastPrinted>2020-06-22T17:57:14Z</cp:lastPrinted>
  <dcterms:created xsi:type="dcterms:W3CDTF">2019-04-15T13:55:54Z</dcterms:created>
  <dcterms:modified xsi:type="dcterms:W3CDTF">2026-03-10T14:4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D6805F2DF6E4DA2E58BBB13EE3876</vt:lpwstr>
  </property>
  <property fmtid="{D5CDD505-2E9C-101B-9397-08002B2CF9AE}" pid="3" name="MediaServiceImageTags">
    <vt:lpwstr/>
  </property>
</Properties>
</file>